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3964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869" userDrawn="1">
          <p15:clr>
            <a:srgbClr val="A4A3A4"/>
          </p15:clr>
        </p15:guide>
        <p15:guide id="4" pos="495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A5D4"/>
    <a:srgbClr val="47AB2C"/>
    <a:srgbClr val="3C4F69"/>
    <a:srgbClr val="1A24AA"/>
    <a:srgbClr val="94186B"/>
    <a:srgbClr val="C40811"/>
    <a:srgbClr val="FFB115"/>
    <a:srgbClr val="3542E0"/>
    <a:srgbClr val="C82091"/>
    <a:srgbClr val="F62B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778" autoAdjust="0"/>
    <p:restoredTop sz="96201" autoAdjust="0"/>
  </p:normalViewPr>
  <p:slideViewPr>
    <p:cSldViewPr snapToGrid="0">
      <p:cViewPr varScale="1">
        <p:scale>
          <a:sx n="102" d="100"/>
          <a:sy n="102" d="100"/>
        </p:scale>
        <p:origin x="828" y="108"/>
      </p:cViewPr>
      <p:guideLst>
        <p:guide orient="horz" pos="2160"/>
        <p:guide pos="869"/>
        <p:guide pos="495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110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C30DC546-A160-40B6-92C2-C2C8C7C6873D}" type="datetimeFigureOut">
              <a:rPr lang="en-US" smtClean="0"/>
              <a:pPr/>
              <a:t>12/13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DD1A2537-3EE0-4E98-9EF3-DEFAB0CB953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1881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1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12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44686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A712FC-90FF-4B94-9263-B812CCB51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9C036D0-E6B5-434C-940A-96676C27CA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12/1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4CBDD0-5377-499C-A75C-DCB6DEF030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11BD4D-1490-4F18-8CD7-D2ADC24CF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4193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12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40930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0083614-B309-4FBC-B91E-FE617CD6F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9091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716A2D-842B-4196-AEF8-54FBA593F7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FF4693-79F5-4AA8-9D0A-F8E292CE2C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8586E3-F188-4180-8D43-CF184C61D618}" type="datetimeFigureOut">
              <a:rPr lang="en-US" smtClean="0"/>
              <a:t>12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42E669-5AD1-4712-9719-9C97D81B82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4856B2-33AA-4803-B4CE-B642517526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53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3" r:id="rId2"/>
    <p:sldLayoutId id="2147483734" r:id="rId3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FA8895-0B43-4780-AA71-F3816D2849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</a:t>
            </a:r>
          </a:p>
        </p:txBody>
      </p:sp>
      <p:pic>
        <p:nvPicPr>
          <p:cNvPr id="4" name="Picture 3" descr="A flag on a pole&#10;&#10;Description automatically generated with low confidence">
            <a:extLst>
              <a:ext uri="{FF2B5EF4-FFF2-40B4-BE49-F238E27FC236}">
                <a16:creationId xmlns:a16="http://schemas.microsoft.com/office/drawing/2014/main" id="{31807615-D923-40D9-BF22-862D162756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5544" y="1629000"/>
            <a:ext cx="2737193" cy="3600000"/>
          </a:xfrm>
          <a:prstGeom prst="rect">
            <a:avLst/>
          </a:prstGeom>
        </p:spPr>
      </p:pic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F25AF763-2BF4-4141-A39D-0876C89EFA8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2921" y="1975719"/>
            <a:ext cx="1796964" cy="1599999"/>
          </a:xfrm>
          <a:prstGeom prst="rect">
            <a:avLst/>
          </a:prstGeom>
        </p:spPr>
      </p:pic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3476C063-C871-46F3-A8D1-DB67A250C94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6900" y="3717727"/>
            <a:ext cx="1440000" cy="1440000"/>
          </a:xfrm>
          <a:prstGeom prst="rect">
            <a:avLst/>
          </a:prstGeom>
        </p:spPr>
      </p:pic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3E2644D5-2FE3-432C-8267-9C1B96DDF20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2921" y="3787634"/>
            <a:ext cx="1794269" cy="1201330"/>
          </a:xfrm>
          <a:prstGeom prst="rect">
            <a:avLst/>
          </a:prstGeom>
        </p:spPr>
      </p:pic>
      <p:grpSp>
        <p:nvGrpSpPr>
          <p:cNvPr id="7" name="Graphic 472">
            <a:extLst>
              <a:ext uri="{FF2B5EF4-FFF2-40B4-BE49-F238E27FC236}">
                <a16:creationId xmlns:a16="http://schemas.microsoft.com/office/drawing/2014/main" id="{1F985F9C-EDAB-4080-BE84-386BEBF93AE7}"/>
              </a:ext>
            </a:extLst>
          </p:cNvPr>
          <p:cNvGrpSpPr/>
          <p:nvPr/>
        </p:nvGrpSpPr>
        <p:grpSpPr>
          <a:xfrm>
            <a:off x="7866900" y="2032917"/>
            <a:ext cx="2270789" cy="1302713"/>
            <a:chOff x="19032167" y="10426892"/>
            <a:chExt cx="2020750" cy="1159151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EB2C4E31-B38E-496A-9679-37DC69622D4D}"/>
                </a:ext>
              </a:extLst>
            </p:cNvPr>
            <p:cNvSpPr/>
            <p:nvPr/>
          </p:nvSpPr>
          <p:spPr>
            <a:xfrm>
              <a:off x="19489159" y="11207326"/>
              <a:ext cx="180365" cy="307786"/>
            </a:xfrm>
            <a:custGeom>
              <a:avLst/>
              <a:gdLst>
                <a:gd name="connsiteX0" fmla="*/ 0 w 180365"/>
                <a:gd name="connsiteY0" fmla="*/ 307786 h 307786"/>
                <a:gd name="connsiteX1" fmla="*/ 180365 w 180365"/>
                <a:gd name="connsiteY1" fmla="*/ 70930 h 307786"/>
                <a:gd name="connsiteX2" fmla="*/ 180365 w 180365"/>
                <a:gd name="connsiteY2" fmla="*/ 0 h 307786"/>
                <a:gd name="connsiteX3" fmla="*/ 0 w 180365"/>
                <a:gd name="connsiteY3" fmla="*/ 236805 h 307786"/>
                <a:gd name="connsiteX4" fmla="*/ 0 w 180365"/>
                <a:gd name="connsiteY4" fmla="*/ 307786 h 307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365" h="307786">
                  <a:moveTo>
                    <a:pt x="0" y="307786"/>
                  </a:moveTo>
                  <a:lnTo>
                    <a:pt x="180365" y="70930"/>
                  </a:lnTo>
                  <a:lnTo>
                    <a:pt x="180365" y="0"/>
                  </a:lnTo>
                  <a:lnTo>
                    <a:pt x="0" y="236805"/>
                  </a:lnTo>
                  <a:lnTo>
                    <a:pt x="0" y="307786"/>
                  </a:lnTo>
                  <a:close/>
                </a:path>
              </a:pathLst>
            </a:custGeom>
            <a:solidFill>
              <a:srgbClr val="BFBFB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25724DD2-97C0-4E61-B1EB-17DC186003E3}"/>
                </a:ext>
              </a:extLst>
            </p:cNvPr>
            <p:cNvSpPr/>
            <p:nvPr/>
          </p:nvSpPr>
          <p:spPr>
            <a:xfrm>
              <a:off x="19489159" y="11136396"/>
              <a:ext cx="180365" cy="307735"/>
            </a:xfrm>
            <a:custGeom>
              <a:avLst/>
              <a:gdLst>
                <a:gd name="connsiteX0" fmla="*/ 0 w 180365"/>
                <a:gd name="connsiteY0" fmla="*/ 307736 h 307735"/>
                <a:gd name="connsiteX1" fmla="*/ 180365 w 180365"/>
                <a:gd name="connsiteY1" fmla="*/ 70930 h 307735"/>
                <a:gd name="connsiteX2" fmla="*/ 180365 w 180365"/>
                <a:gd name="connsiteY2" fmla="*/ 0 h 307735"/>
                <a:gd name="connsiteX3" fmla="*/ 0 w 180365"/>
                <a:gd name="connsiteY3" fmla="*/ 236805 h 307735"/>
                <a:gd name="connsiteX4" fmla="*/ 0 w 180365"/>
                <a:gd name="connsiteY4" fmla="*/ 307736 h 307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365" h="307735">
                  <a:moveTo>
                    <a:pt x="0" y="307736"/>
                  </a:moveTo>
                  <a:lnTo>
                    <a:pt x="180365" y="70930"/>
                  </a:lnTo>
                  <a:lnTo>
                    <a:pt x="180365" y="0"/>
                  </a:lnTo>
                  <a:lnTo>
                    <a:pt x="0" y="236805"/>
                  </a:lnTo>
                  <a:lnTo>
                    <a:pt x="0" y="307736"/>
                  </a:lnTo>
                  <a:close/>
                </a:path>
              </a:pathLst>
            </a:custGeom>
            <a:solidFill>
              <a:srgbClr val="851A26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B22E5DAF-2609-43E2-9297-9329B207455C}"/>
                </a:ext>
              </a:extLst>
            </p:cNvPr>
            <p:cNvSpPr/>
            <p:nvPr/>
          </p:nvSpPr>
          <p:spPr>
            <a:xfrm>
              <a:off x="19489159" y="10426892"/>
              <a:ext cx="180365" cy="733468"/>
            </a:xfrm>
            <a:custGeom>
              <a:avLst/>
              <a:gdLst>
                <a:gd name="connsiteX0" fmla="*/ 0 w 180365"/>
                <a:gd name="connsiteY0" fmla="*/ 236856 h 733468"/>
                <a:gd name="connsiteX1" fmla="*/ 0 w 180365"/>
                <a:gd name="connsiteY1" fmla="*/ 733469 h 733468"/>
                <a:gd name="connsiteX2" fmla="*/ 180365 w 180365"/>
                <a:gd name="connsiteY2" fmla="*/ 496613 h 733468"/>
                <a:gd name="connsiteX3" fmla="*/ 180365 w 180365"/>
                <a:gd name="connsiteY3" fmla="*/ 0 h 733468"/>
                <a:gd name="connsiteX4" fmla="*/ 0 w 180365"/>
                <a:gd name="connsiteY4" fmla="*/ 236856 h 733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365" h="733468">
                  <a:moveTo>
                    <a:pt x="0" y="236856"/>
                  </a:moveTo>
                  <a:lnTo>
                    <a:pt x="0" y="733469"/>
                  </a:lnTo>
                  <a:lnTo>
                    <a:pt x="180365" y="496613"/>
                  </a:lnTo>
                  <a:lnTo>
                    <a:pt x="180365" y="0"/>
                  </a:lnTo>
                  <a:lnTo>
                    <a:pt x="0" y="236856"/>
                  </a:lnTo>
                  <a:close/>
                </a:path>
              </a:pathLst>
            </a:custGeom>
            <a:solidFill>
              <a:srgbClr val="2D2C52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41489C5-92D2-4C72-BC06-C27E87267615}"/>
                </a:ext>
              </a:extLst>
            </p:cNvPr>
            <p:cNvSpPr/>
            <p:nvPr/>
          </p:nvSpPr>
          <p:spPr>
            <a:xfrm>
              <a:off x="19489159" y="11278256"/>
              <a:ext cx="180365" cy="307786"/>
            </a:xfrm>
            <a:custGeom>
              <a:avLst/>
              <a:gdLst>
                <a:gd name="connsiteX0" fmla="*/ 0 w 180365"/>
                <a:gd name="connsiteY0" fmla="*/ 307786 h 307786"/>
                <a:gd name="connsiteX1" fmla="*/ 180365 w 180365"/>
                <a:gd name="connsiteY1" fmla="*/ 70930 h 307786"/>
                <a:gd name="connsiteX2" fmla="*/ 180365 w 180365"/>
                <a:gd name="connsiteY2" fmla="*/ 0 h 307786"/>
                <a:gd name="connsiteX3" fmla="*/ 0 w 180365"/>
                <a:gd name="connsiteY3" fmla="*/ 236856 h 307786"/>
                <a:gd name="connsiteX4" fmla="*/ 0 w 180365"/>
                <a:gd name="connsiteY4" fmla="*/ 307786 h 307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365" h="307786">
                  <a:moveTo>
                    <a:pt x="0" y="307786"/>
                  </a:moveTo>
                  <a:lnTo>
                    <a:pt x="180365" y="70930"/>
                  </a:lnTo>
                  <a:lnTo>
                    <a:pt x="180365" y="0"/>
                  </a:lnTo>
                  <a:lnTo>
                    <a:pt x="0" y="236856"/>
                  </a:lnTo>
                  <a:lnTo>
                    <a:pt x="0" y="307786"/>
                  </a:lnTo>
                  <a:close/>
                </a:path>
              </a:pathLst>
            </a:custGeom>
            <a:solidFill>
              <a:srgbClr val="851A26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A2548C4-C845-488A-854B-E812D1F7B25E}"/>
                </a:ext>
              </a:extLst>
            </p:cNvPr>
            <p:cNvSpPr/>
            <p:nvPr/>
          </p:nvSpPr>
          <p:spPr>
            <a:xfrm>
              <a:off x="19489159" y="10923504"/>
              <a:ext cx="180365" cy="307786"/>
            </a:xfrm>
            <a:custGeom>
              <a:avLst/>
              <a:gdLst>
                <a:gd name="connsiteX0" fmla="*/ 0 w 180365"/>
                <a:gd name="connsiteY0" fmla="*/ 307786 h 307786"/>
                <a:gd name="connsiteX1" fmla="*/ 180365 w 180365"/>
                <a:gd name="connsiteY1" fmla="*/ 70981 h 307786"/>
                <a:gd name="connsiteX2" fmla="*/ 180365 w 180365"/>
                <a:gd name="connsiteY2" fmla="*/ 0 h 307786"/>
                <a:gd name="connsiteX3" fmla="*/ 0 w 180365"/>
                <a:gd name="connsiteY3" fmla="*/ 236856 h 307786"/>
                <a:gd name="connsiteX4" fmla="*/ 0 w 180365"/>
                <a:gd name="connsiteY4" fmla="*/ 307786 h 307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365" h="307786">
                  <a:moveTo>
                    <a:pt x="0" y="307786"/>
                  </a:moveTo>
                  <a:lnTo>
                    <a:pt x="180365" y="70981"/>
                  </a:lnTo>
                  <a:lnTo>
                    <a:pt x="180365" y="0"/>
                  </a:lnTo>
                  <a:lnTo>
                    <a:pt x="0" y="236856"/>
                  </a:lnTo>
                  <a:lnTo>
                    <a:pt x="0" y="307786"/>
                  </a:lnTo>
                  <a:close/>
                </a:path>
              </a:pathLst>
            </a:custGeom>
            <a:solidFill>
              <a:srgbClr val="BFBFB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A5FFBEF-8B90-426E-9FEE-080B49EDDB72}"/>
                </a:ext>
              </a:extLst>
            </p:cNvPr>
            <p:cNvSpPr/>
            <p:nvPr/>
          </p:nvSpPr>
          <p:spPr>
            <a:xfrm>
              <a:off x="19489159" y="10994485"/>
              <a:ext cx="180365" cy="307786"/>
            </a:xfrm>
            <a:custGeom>
              <a:avLst/>
              <a:gdLst>
                <a:gd name="connsiteX0" fmla="*/ 0 w 180365"/>
                <a:gd name="connsiteY0" fmla="*/ 307786 h 307786"/>
                <a:gd name="connsiteX1" fmla="*/ 180365 w 180365"/>
                <a:gd name="connsiteY1" fmla="*/ 70930 h 307786"/>
                <a:gd name="connsiteX2" fmla="*/ 180365 w 180365"/>
                <a:gd name="connsiteY2" fmla="*/ 0 h 307786"/>
                <a:gd name="connsiteX3" fmla="*/ 0 w 180365"/>
                <a:gd name="connsiteY3" fmla="*/ 236805 h 307786"/>
                <a:gd name="connsiteX4" fmla="*/ 0 w 180365"/>
                <a:gd name="connsiteY4" fmla="*/ 307786 h 307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365" h="307786">
                  <a:moveTo>
                    <a:pt x="0" y="307786"/>
                  </a:moveTo>
                  <a:lnTo>
                    <a:pt x="180365" y="70930"/>
                  </a:lnTo>
                  <a:lnTo>
                    <a:pt x="180365" y="0"/>
                  </a:lnTo>
                  <a:lnTo>
                    <a:pt x="0" y="236805"/>
                  </a:lnTo>
                  <a:lnTo>
                    <a:pt x="0" y="307786"/>
                  </a:lnTo>
                  <a:close/>
                </a:path>
              </a:pathLst>
            </a:custGeom>
            <a:solidFill>
              <a:srgbClr val="851A26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A1B08CA-F0FE-47E3-B603-236F357D631C}"/>
                </a:ext>
              </a:extLst>
            </p:cNvPr>
            <p:cNvSpPr/>
            <p:nvPr/>
          </p:nvSpPr>
          <p:spPr>
            <a:xfrm>
              <a:off x="19489159" y="11065415"/>
              <a:ext cx="180365" cy="307786"/>
            </a:xfrm>
            <a:custGeom>
              <a:avLst/>
              <a:gdLst>
                <a:gd name="connsiteX0" fmla="*/ 0 w 180365"/>
                <a:gd name="connsiteY0" fmla="*/ 307786 h 307786"/>
                <a:gd name="connsiteX1" fmla="*/ 180365 w 180365"/>
                <a:gd name="connsiteY1" fmla="*/ 70981 h 307786"/>
                <a:gd name="connsiteX2" fmla="*/ 180365 w 180365"/>
                <a:gd name="connsiteY2" fmla="*/ 0 h 307786"/>
                <a:gd name="connsiteX3" fmla="*/ 0 w 180365"/>
                <a:gd name="connsiteY3" fmla="*/ 236856 h 307786"/>
                <a:gd name="connsiteX4" fmla="*/ 0 w 180365"/>
                <a:gd name="connsiteY4" fmla="*/ 307786 h 307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365" h="307786">
                  <a:moveTo>
                    <a:pt x="0" y="307786"/>
                  </a:moveTo>
                  <a:lnTo>
                    <a:pt x="180365" y="70981"/>
                  </a:lnTo>
                  <a:lnTo>
                    <a:pt x="180365" y="0"/>
                  </a:lnTo>
                  <a:lnTo>
                    <a:pt x="0" y="236856"/>
                  </a:lnTo>
                  <a:lnTo>
                    <a:pt x="0" y="307786"/>
                  </a:lnTo>
                  <a:close/>
                </a:path>
              </a:pathLst>
            </a:custGeom>
            <a:solidFill>
              <a:srgbClr val="BFBFB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7BD453B-B50A-4C7F-B81F-4F2AC308FC65}"/>
                </a:ext>
              </a:extLst>
            </p:cNvPr>
            <p:cNvSpPr/>
            <p:nvPr/>
          </p:nvSpPr>
          <p:spPr>
            <a:xfrm>
              <a:off x="19052939" y="11444132"/>
              <a:ext cx="436220" cy="70980"/>
            </a:xfrm>
            <a:custGeom>
              <a:avLst/>
              <a:gdLst>
                <a:gd name="connsiteX0" fmla="*/ 0 w 436220"/>
                <a:gd name="connsiteY0" fmla="*/ 70981 h 70980"/>
                <a:gd name="connsiteX1" fmla="*/ 436221 w 436220"/>
                <a:gd name="connsiteY1" fmla="*/ 70981 h 70980"/>
                <a:gd name="connsiteX2" fmla="*/ 436221 w 436220"/>
                <a:gd name="connsiteY2" fmla="*/ 0 h 70980"/>
                <a:gd name="connsiteX3" fmla="*/ 20772 w 436220"/>
                <a:gd name="connsiteY3" fmla="*/ 0 h 70980"/>
                <a:gd name="connsiteX4" fmla="*/ 0 w 436220"/>
                <a:gd name="connsiteY4" fmla="*/ 70981 h 70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6220" h="70980">
                  <a:moveTo>
                    <a:pt x="0" y="70981"/>
                  </a:moveTo>
                  <a:lnTo>
                    <a:pt x="436221" y="70981"/>
                  </a:lnTo>
                  <a:lnTo>
                    <a:pt x="436221" y="0"/>
                  </a:lnTo>
                  <a:lnTo>
                    <a:pt x="20772" y="0"/>
                  </a:lnTo>
                  <a:lnTo>
                    <a:pt x="0" y="70981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E23D226-4915-44AC-AA13-B5184AD3D458}"/>
                </a:ext>
              </a:extLst>
            </p:cNvPr>
            <p:cNvSpPr/>
            <p:nvPr/>
          </p:nvSpPr>
          <p:spPr>
            <a:xfrm>
              <a:off x="19032167" y="11515112"/>
              <a:ext cx="456992" cy="70930"/>
            </a:xfrm>
            <a:custGeom>
              <a:avLst/>
              <a:gdLst>
                <a:gd name="connsiteX0" fmla="*/ 0 w 456992"/>
                <a:gd name="connsiteY0" fmla="*/ 70930 h 70930"/>
                <a:gd name="connsiteX1" fmla="*/ 456993 w 456992"/>
                <a:gd name="connsiteY1" fmla="*/ 70930 h 70930"/>
                <a:gd name="connsiteX2" fmla="*/ 456993 w 456992"/>
                <a:gd name="connsiteY2" fmla="*/ 0 h 70930"/>
                <a:gd name="connsiteX3" fmla="*/ 20772 w 456992"/>
                <a:gd name="connsiteY3" fmla="*/ 0 h 70930"/>
                <a:gd name="connsiteX4" fmla="*/ 0 w 456992"/>
                <a:gd name="connsiteY4" fmla="*/ 70930 h 7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6992" h="70930">
                  <a:moveTo>
                    <a:pt x="0" y="70930"/>
                  </a:moveTo>
                  <a:lnTo>
                    <a:pt x="456993" y="70930"/>
                  </a:lnTo>
                  <a:lnTo>
                    <a:pt x="456993" y="0"/>
                  </a:lnTo>
                  <a:lnTo>
                    <a:pt x="20772" y="0"/>
                  </a:lnTo>
                  <a:lnTo>
                    <a:pt x="0" y="70930"/>
                  </a:lnTo>
                  <a:close/>
                </a:path>
              </a:pathLst>
            </a:custGeom>
            <a:solidFill>
              <a:srgbClr val="B12233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90534A0D-FA8E-4B20-88C3-C9343BBA8C25}"/>
                </a:ext>
              </a:extLst>
            </p:cNvPr>
            <p:cNvSpPr/>
            <p:nvPr/>
          </p:nvSpPr>
          <p:spPr>
            <a:xfrm>
              <a:off x="19073711" y="11373201"/>
              <a:ext cx="415448" cy="70930"/>
            </a:xfrm>
            <a:custGeom>
              <a:avLst/>
              <a:gdLst>
                <a:gd name="connsiteX0" fmla="*/ 0 w 415448"/>
                <a:gd name="connsiteY0" fmla="*/ 70930 h 70930"/>
                <a:gd name="connsiteX1" fmla="*/ 415448 w 415448"/>
                <a:gd name="connsiteY1" fmla="*/ 70930 h 70930"/>
                <a:gd name="connsiteX2" fmla="*/ 415448 w 415448"/>
                <a:gd name="connsiteY2" fmla="*/ 0 h 70930"/>
                <a:gd name="connsiteX3" fmla="*/ 20772 w 415448"/>
                <a:gd name="connsiteY3" fmla="*/ 0 h 70930"/>
                <a:gd name="connsiteX4" fmla="*/ 0 w 415448"/>
                <a:gd name="connsiteY4" fmla="*/ 70930 h 7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5448" h="70930">
                  <a:moveTo>
                    <a:pt x="0" y="70930"/>
                  </a:moveTo>
                  <a:lnTo>
                    <a:pt x="415448" y="70930"/>
                  </a:lnTo>
                  <a:lnTo>
                    <a:pt x="415448" y="0"/>
                  </a:lnTo>
                  <a:lnTo>
                    <a:pt x="20772" y="0"/>
                  </a:lnTo>
                  <a:lnTo>
                    <a:pt x="0" y="70930"/>
                  </a:lnTo>
                  <a:close/>
                </a:path>
              </a:pathLst>
            </a:custGeom>
            <a:solidFill>
              <a:srgbClr val="B12233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413DABC-28F5-4304-BC69-4F5AC8AD4AFD}"/>
                </a:ext>
              </a:extLst>
            </p:cNvPr>
            <p:cNvSpPr/>
            <p:nvPr/>
          </p:nvSpPr>
          <p:spPr>
            <a:xfrm>
              <a:off x="19156801" y="10663748"/>
              <a:ext cx="332358" cy="496612"/>
            </a:xfrm>
            <a:custGeom>
              <a:avLst/>
              <a:gdLst>
                <a:gd name="connsiteX0" fmla="*/ 332359 w 332358"/>
                <a:gd name="connsiteY0" fmla="*/ 0 h 496612"/>
                <a:gd name="connsiteX1" fmla="*/ 145356 w 332358"/>
                <a:gd name="connsiteY1" fmla="*/ 0 h 496612"/>
                <a:gd name="connsiteX2" fmla="*/ 0 w 332358"/>
                <a:gd name="connsiteY2" fmla="*/ 496613 h 496612"/>
                <a:gd name="connsiteX3" fmla="*/ 332359 w 332358"/>
                <a:gd name="connsiteY3" fmla="*/ 496613 h 496612"/>
                <a:gd name="connsiteX4" fmla="*/ 332359 w 332358"/>
                <a:gd name="connsiteY4" fmla="*/ 0 h 49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2358" h="496612">
                  <a:moveTo>
                    <a:pt x="332359" y="0"/>
                  </a:moveTo>
                  <a:lnTo>
                    <a:pt x="145356" y="0"/>
                  </a:lnTo>
                  <a:lnTo>
                    <a:pt x="0" y="496613"/>
                  </a:lnTo>
                  <a:lnTo>
                    <a:pt x="332359" y="496613"/>
                  </a:lnTo>
                  <a:lnTo>
                    <a:pt x="332359" y="0"/>
                  </a:lnTo>
                  <a:close/>
                </a:path>
              </a:pathLst>
            </a:custGeom>
            <a:solidFill>
              <a:srgbClr val="3C3B6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77F1137-B37F-487E-9CA1-59E824460BB7}"/>
                </a:ext>
              </a:extLst>
            </p:cNvPr>
            <p:cNvSpPr/>
            <p:nvPr/>
          </p:nvSpPr>
          <p:spPr>
            <a:xfrm>
              <a:off x="19094484" y="11302271"/>
              <a:ext cx="394675" cy="70930"/>
            </a:xfrm>
            <a:custGeom>
              <a:avLst/>
              <a:gdLst>
                <a:gd name="connsiteX0" fmla="*/ 0 w 394675"/>
                <a:gd name="connsiteY0" fmla="*/ 70930 h 70930"/>
                <a:gd name="connsiteX1" fmla="*/ 394676 w 394675"/>
                <a:gd name="connsiteY1" fmla="*/ 70930 h 70930"/>
                <a:gd name="connsiteX2" fmla="*/ 394676 w 394675"/>
                <a:gd name="connsiteY2" fmla="*/ 0 h 70930"/>
                <a:gd name="connsiteX3" fmla="*/ 20772 w 394675"/>
                <a:gd name="connsiteY3" fmla="*/ 0 h 70930"/>
                <a:gd name="connsiteX4" fmla="*/ 0 w 394675"/>
                <a:gd name="connsiteY4" fmla="*/ 70930 h 7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675" h="70930">
                  <a:moveTo>
                    <a:pt x="0" y="70930"/>
                  </a:moveTo>
                  <a:lnTo>
                    <a:pt x="394676" y="70930"/>
                  </a:lnTo>
                  <a:lnTo>
                    <a:pt x="394676" y="0"/>
                  </a:lnTo>
                  <a:lnTo>
                    <a:pt x="20772" y="0"/>
                  </a:lnTo>
                  <a:lnTo>
                    <a:pt x="0" y="7093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647E97B-BD89-46C8-A77C-16BD3EDF9094}"/>
                </a:ext>
              </a:extLst>
            </p:cNvPr>
            <p:cNvSpPr/>
            <p:nvPr/>
          </p:nvSpPr>
          <p:spPr>
            <a:xfrm>
              <a:off x="19115256" y="11231290"/>
              <a:ext cx="373903" cy="70980"/>
            </a:xfrm>
            <a:custGeom>
              <a:avLst/>
              <a:gdLst>
                <a:gd name="connsiteX0" fmla="*/ 20772 w 373903"/>
                <a:gd name="connsiteY0" fmla="*/ 0 h 70980"/>
                <a:gd name="connsiteX1" fmla="*/ 0 w 373903"/>
                <a:gd name="connsiteY1" fmla="*/ 70981 h 70980"/>
                <a:gd name="connsiteX2" fmla="*/ 373903 w 373903"/>
                <a:gd name="connsiteY2" fmla="*/ 70981 h 70980"/>
                <a:gd name="connsiteX3" fmla="*/ 373903 w 373903"/>
                <a:gd name="connsiteY3" fmla="*/ 0 h 70980"/>
                <a:gd name="connsiteX4" fmla="*/ 20772 w 373903"/>
                <a:gd name="connsiteY4" fmla="*/ 0 h 70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903" h="70980">
                  <a:moveTo>
                    <a:pt x="20772" y="0"/>
                  </a:moveTo>
                  <a:lnTo>
                    <a:pt x="0" y="70981"/>
                  </a:lnTo>
                  <a:lnTo>
                    <a:pt x="373903" y="70981"/>
                  </a:lnTo>
                  <a:lnTo>
                    <a:pt x="373903" y="0"/>
                  </a:lnTo>
                  <a:lnTo>
                    <a:pt x="20772" y="0"/>
                  </a:lnTo>
                  <a:close/>
                </a:path>
              </a:pathLst>
            </a:custGeom>
            <a:solidFill>
              <a:srgbClr val="B12233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C1614BA-4877-4BD8-A073-6346EC1EAB6D}"/>
                </a:ext>
              </a:extLst>
            </p:cNvPr>
            <p:cNvSpPr/>
            <p:nvPr/>
          </p:nvSpPr>
          <p:spPr>
            <a:xfrm>
              <a:off x="19136029" y="11160360"/>
              <a:ext cx="353130" cy="70930"/>
            </a:xfrm>
            <a:custGeom>
              <a:avLst/>
              <a:gdLst>
                <a:gd name="connsiteX0" fmla="*/ 353131 w 353130"/>
                <a:gd name="connsiteY0" fmla="*/ 0 h 70930"/>
                <a:gd name="connsiteX1" fmla="*/ 20772 w 353130"/>
                <a:gd name="connsiteY1" fmla="*/ 0 h 70930"/>
                <a:gd name="connsiteX2" fmla="*/ 0 w 353130"/>
                <a:gd name="connsiteY2" fmla="*/ 70930 h 70930"/>
                <a:gd name="connsiteX3" fmla="*/ 353131 w 353130"/>
                <a:gd name="connsiteY3" fmla="*/ 70930 h 70930"/>
                <a:gd name="connsiteX4" fmla="*/ 353131 w 353130"/>
                <a:gd name="connsiteY4" fmla="*/ 0 h 7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130" h="70930">
                  <a:moveTo>
                    <a:pt x="353131" y="0"/>
                  </a:moveTo>
                  <a:lnTo>
                    <a:pt x="20772" y="0"/>
                  </a:lnTo>
                  <a:lnTo>
                    <a:pt x="0" y="70930"/>
                  </a:lnTo>
                  <a:lnTo>
                    <a:pt x="353131" y="70930"/>
                  </a:lnTo>
                  <a:lnTo>
                    <a:pt x="353131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4D70FD1-B6D4-4037-AC7F-7F7FA189BF20}"/>
                </a:ext>
              </a:extLst>
            </p:cNvPr>
            <p:cNvSpPr/>
            <p:nvPr/>
          </p:nvSpPr>
          <p:spPr>
            <a:xfrm>
              <a:off x="19669525" y="11065364"/>
              <a:ext cx="1383391" cy="70930"/>
            </a:xfrm>
            <a:custGeom>
              <a:avLst/>
              <a:gdLst>
                <a:gd name="connsiteX0" fmla="*/ 0 w 1383391"/>
                <a:gd name="connsiteY0" fmla="*/ 0 h 70930"/>
                <a:gd name="connsiteX1" fmla="*/ 1383392 w 1383391"/>
                <a:gd name="connsiteY1" fmla="*/ 0 h 70930"/>
                <a:gd name="connsiteX2" fmla="*/ 1383392 w 1383391"/>
                <a:gd name="connsiteY2" fmla="*/ 70930 h 70930"/>
                <a:gd name="connsiteX3" fmla="*/ 0 w 1383391"/>
                <a:gd name="connsiteY3" fmla="*/ 70930 h 7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3391" h="70930">
                  <a:moveTo>
                    <a:pt x="0" y="0"/>
                  </a:moveTo>
                  <a:lnTo>
                    <a:pt x="1383392" y="0"/>
                  </a:lnTo>
                  <a:lnTo>
                    <a:pt x="1383392" y="70930"/>
                  </a:lnTo>
                  <a:lnTo>
                    <a:pt x="0" y="7093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71B90C2-84BD-4CB2-9237-00EF6C0A24D9}"/>
                </a:ext>
              </a:extLst>
            </p:cNvPr>
            <p:cNvSpPr/>
            <p:nvPr/>
          </p:nvSpPr>
          <p:spPr>
            <a:xfrm>
              <a:off x="19669525" y="10994434"/>
              <a:ext cx="1383391" cy="70930"/>
            </a:xfrm>
            <a:custGeom>
              <a:avLst/>
              <a:gdLst>
                <a:gd name="connsiteX0" fmla="*/ 0 w 1383391"/>
                <a:gd name="connsiteY0" fmla="*/ 0 h 70930"/>
                <a:gd name="connsiteX1" fmla="*/ 1383392 w 1383391"/>
                <a:gd name="connsiteY1" fmla="*/ 0 h 70930"/>
                <a:gd name="connsiteX2" fmla="*/ 1383392 w 1383391"/>
                <a:gd name="connsiteY2" fmla="*/ 70930 h 70930"/>
                <a:gd name="connsiteX3" fmla="*/ 0 w 1383391"/>
                <a:gd name="connsiteY3" fmla="*/ 70930 h 7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3391" h="70930">
                  <a:moveTo>
                    <a:pt x="0" y="0"/>
                  </a:moveTo>
                  <a:lnTo>
                    <a:pt x="1383392" y="0"/>
                  </a:lnTo>
                  <a:lnTo>
                    <a:pt x="1383392" y="70930"/>
                  </a:lnTo>
                  <a:lnTo>
                    <a:pt x="0" y="70930"/>
                  </a:lnTo>
                  <a:close/>
                </a:path>
              </a:pathLst>
            </a:custGeom>
            <a:solidFill>
              <a:srgbClr val="B12233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605E451-D77D-47DE-88CF-A87C3E40A8A5}"/>
                </a:ext>
              </a:extLst>
            </p:cNvPr>
            <p:cNvSpPr/>
            <p:nvPr/>
          </p:nvSpPr>
          <p:spPr>
            <a:xfrm>
              <a:off x="19669525" y="10923504"/>
              <a:ext cx="1383391" cy="70930"/>
            </a:xfrm>
            <a:custGeom>
              <a:avLst/>
              <a:gdLst>
                <a:gd name="connsiteX0" fmla="*/ 0 w 1383391"/>
                <a:gd name="connsiteY0" fmla="*/ 0 h 70930"/>
                <a:gd name="connsiteX1" fmla="*/ 1383392 w 1383391"/>
                <a:gd name="connsiteY1" fmla="*/ 0 h 70930"/>
                <a:gd name="connsiteX2" fmla="*/ 1383392 w 1383391"/>
                <a:gd name="connsiteY2" fmla="*/ 70930 h 70930"/>
                <a:gd name="connsiteX3" fmla="*/ 0 w 1383391"/>
                <a:gd name="connsiteY3" fmla="*/ 70930 h 7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3391" h="70930">
                  <a:moveTo>
                    <a:pt x="0" y="0"/>
                  </a:moveTo>
                  <a:lnTo>
                    <a:pt x="1383392" y="0"/>
                  </a:lnTo>
                  <a:lnTo>
                    <a:pt x="1383392" y="70930"/>
                  </a:lnTo>
                  <a:lnTo>
                    <a:pt x="0" y="7093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CDB5FB9-15E2-47AB-B35E-0119EE6E1090}"/>
                </a:ext>
              </a:extLst>
            </p:cNvPr>
            <p:cNvSpPr/>
            <p:nvPr/>
          </p:nvSpPr>
          <p:spPr>
            <a:xfrm>
              <a:off x="19669525" y="11136345"/>
              <a:ext cx="1383391" cy="70930"/>
            </a:xfrm>
            <a:custGeom>
              <a:avLst/>
              <a:gdLst>
                <a:gd name="connsiteX0" fmla="*/ 0 w 1383391"/>
                <a:gd name="connsiteY0" fmla="*/ 0 h 70930"/>
                <a:gd name="connsiteX1" fmla="*/ 1383392 w 1383391"/>
                <a:gd name="connsiteY1" fmla="*/ 0 h 70930"/>
                <a:gd name="connsiteX2" fmla="*/ 1383392 w 1383391"/>
                <a:gd name="connsiteY2" fmla="*/ 70930 h 70930"/>
                <a:gd name="connsiteX3" fmla="*/ 0 w 1383391"/>
                <a:gd name="connsiteY3" fmla="*/ 70930 h 7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3391" h="70930">
                  <a:moveTo>
                    <a:pt x="0" y="0"/>
                  </a:moveTo>
                  <a:lnTo>
                    <a:pt x="1383392" y="0"/>
                  </a:lnTo>
                  <a:lnTo>
                    <a:pt x="1383392" y="70930"/>
                  </a:lnTo>
                  <a:lnTo>
                    <a:pt x="0" y="70930"/>
                  </a:lnTo>
                  <a:close/>
                </a:path>
              </a:pathLst>
            </a:custGeom>
            <a:solidFill>
              <a:srgbClr val="B12233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8250A90F-51C5-429A-98B2-03DD39FFB1CB}"/>
                </a:ext>
              </a:extLst>
            </p:cNvPr>
            <p:cNvSpPr/>
            <p:nvPr/>
          </p:nvSpPr>
          <p:spPr>
            <a:xfrm>
              <a:off x="19669525" y="11278206"/>
              <a:ext cx="1383391" cy="70930"/>
            </a:xfrm>
            <a:custGeom>
              <a:avLst/>
              <a:gdLst>
                <a:gd name="connsiteX0" fmla="*/ 0 w 1383391"/>
                <a:gd name="connsiteY0" fmla="*/ 0 h 70930"/>
                <a:gd name="connsiteX1" fmla="*/ 1383392 w 1383391"/>
                <a:gd name="connsiteY1" fmla="*/ 0 h 70930"/>
                <a:gd name="connsiteX2" fmla="*/ 1383392 w 1383391"/>
                <a:gd name="connsiteY2" fmla="*/ 70930 h 70930"/>
                <a:gd name="connsiteX3" fmla="*/ 0 w 1383391"/>
                <a:gd name="connsiteY3" fmla="*/ 70930 h 7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3391" h="70930">
                  <a:moveTo>
                    <a:pt x="0" y="0"/>
                  </a:moveTo>
                  <a:lnTo>
                    <a:pt x="1383392" y="0"/>
                  </a:lnTo>
                  <a:lnTo>
                    <a:pt x="1383392" y="70930"/>
                  </a:lnTo>
                  <a:lnTo>
                    <a:pt x="0" y="70930"/>
                  </a:lnTo>
                  <a:close/>
                </a:path>
              </a:pathLst>
            </a:custGeom>
            <a:solidFill>
              <a:srgbClr val="B12233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1CDFCBB-F0C1-49AB-AC17-FD1B02852338}"/>
                </a:ext>
              </a:extLst>
            </p:cNvPr>
            <p:cNvSpPr/>
            <p:nvPr/>
          </p:nvSpPr>
          <p:spPr>
            <a:xfrm>
              <a:off x="19669525" y="11207275"/>
              <a:ext cx="1383391" cy="70930"/>
            </a:xfrm>
            <a:custGeom>
              <a:avLst/>
              <a:gdLst>
                <a:gd name="connsiteX0" fmla="*/ 0 w 1383391"/>
                <a:gd name="connsiteY0" fmla="*/ 0 h 70930"/>
                <a:gd name="connsiteX1" fmla="*/ 1383392 w 1383391"/>
                <a:gd name="connsiteY1" fmla="*/ 0 h 70930"/>
                <a:gd name="connsiteX2" fmla="*/ 1383392 w 1383391"/>
                <a:gd name="connsiteY2" fmla="*/ 70930 h 70930"/>
                <a:gd name="connsiteX3" fmla="*/ 0 w 1383391"/>
                <a:gd name="connsiteY3" fmla="*/ 70930 h 7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3391" h="70930">
                  <a:moveTo>
                    <a:pt x="0" y="0"/>
                  </a:moveTo>
                  <a:lnTo>
                    <a:pt x="1383392" y="0"/>
                  </a:lnTo>
                  <a:lnTo>
                    <a:pt x="1383392" y="70930"/>
                  </a:lnTo>
                  <a:lnTo>
                    <a:pt x="0" y="7093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2391B78-ACA0-4977-BCFF-FB17C0289C77}"/>
                </a:ext>
              </a:extLst>
            </p:cNvPr>
            <p:cNvSpPr/>
            <p:nvPr/>
          </p:nvSpPr>
          <p:spPr>
            <a:xfrm>
              <a:off x="19669525" y="10497822"/>
              <a:ext cx="1383391" cy="70930"/>
            </a:xfrm>
            <a:custGeom>
              <a:avLst/>
              <a:gdLst>
                <a:gd name="connsiteX0" fmla="*/ 0 w 1383391"/>
                <a:gd name="connsiteY0" fmla="*/ 0 h 70930"/>
                <a:gd name="connsiteX1" fmla="*/ 1383392 w 1383391"/>
                <a:gd name="connsiteY1" fmla="*/ 0 h 70930"/>
                <a:gd name="connsiteX2" fmla="*/ 1383392 w 1383391"/>
                <a:gd name="connsiteY2" fmla="*/ 70930 h 70930"/>
                <a:gd name="connsiteX3" fmla="*/ 0 w 1383391"/>
                <a:gd name="connsiteY3" fmla="*/ 70930 h 7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3391" h="70930">
                  <a:moveTo>
                    <a:pt x="0" y="0"/>
                  </a:moveTo>
                  <a:lnTo>
                    <a:pt x="1383392" y="0"/>
                  </a:lnTo>
                  <a:lnTo>
                    <a:pt x="1383392" y="70930"/>
                  </a:lnTo>
                  <a:lnTo>
                    <a:pt x="0" y="7093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911955B4-1823-4E1C-B955-FB3671504B86}"/>
                </a:ext>
              </a:extLst>
            </p:cNvPr>
            <p:cNvSpPr/>
            <p:nvPr/>
          </p:nvSpPr>
          <p:spPr>
            <a:xfrm>
              <a:off x="19669525" y="10426892"/>
              <a:ext cx="1383391" cy="70930"/>
            </a:xfrm>
            <a:custGeom>
              <a:avLst/>
              <a:gdLst>
                <a:gd name="connsiteX0" fmla="*/ 0 w 1383391"/>
                <a:gd name="connsiteY0" fmla="*/ 0 h 70930"/>
                <a:gd name="connsiteX1" fmla="*/ 1383392 w 1383391"/>
                <a:gd name="connsiteY1" fmla="*/ 0 h 70930"/>
                <a:gd name="connsiteX2" fmla="*/ 1383392 w 1383391"/>
                <a:gd name="connsiteY2" fmla="*/ 70930 h 70930"/>
                <a:gd name="connsiteX3" fmla="*/ 0 w 1383391"/>
                <a:gd name="connsiteY3" fmla="*/ 70930 h 7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3391" h="70930">
                  <a:moveTo>
                    <a:pt x="0" y="0"/>
                  </a:moveTo>
                  <a:lnTo>
                    <a:pt x="1383392" y="0"/>
                  </a:lnTo>
                  <a:lnTo>
                    <a:pt x="1383392" y="70930"/>
                  </a:lnTo>
                  <a:lnTo>
                    <a:pt x="0" y="70930"/>
                  </a:lnTo>
                  <a:close/>
                </a:path>
              </a:pathLst>
            </a:custGeom>
            <a:solidFill>
              <a:srgbClr val="B12233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AA9D851-3FDE-42F0-BD74-760381FC0558}"/>
                </a:ext>
              </a:extLst>
            </p:cNvPr>
            <p:cNvSpPr/>
            <p:nvPr/>
          </p:nvSpPr>
          <p:spPr>
            <a:xfrm>
              <a:off x="19669525" y="10568803"/>
              <a:ext cx="1383391" cy="70930"/>
            </a:xfrm>
            <a:custGeom>
              <a:avLst/>
              <a:gdLst>
                <a:gd name="connsiteX0" fmla="*/ 0 w 1383391"/>
                <a:gd name="connsiteY0" fmla="*/ 0 h 70930"/>
                <a:gd name="connsiteX1" fmla="*/ 1383392 w 1383391"/>
                <a:gd name="connsiteY1" fmla="*/ 0 h 70930"/>
                <a:gd name="connsiteX2" fmla="*/ 1383392 w 1383391"/>
                <a:gd name="connsiteY2" fmla="*/ 70930 h 70930"/>
                <a:gd name="connsiteX3" fmla="*/ 0 w 1383391"/>
                <a:gd name="connsiteY3" fmla="*/ 70930 h 7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3391" h="70930">
                  <a:moveTo>
                    <a:pt x="0" y="0"/>
                  </a:moveTo>
                  <a:lnTo>
                    <a:pt x="1383392" y="0"/>
                  </a:lnTo>
                  <a:lnTo>
                    <a:pt x="1383392" y="70930"/>
                  </a:lnTo>
                  <a:lnTo>
                    <a:pt x="0" y="70930"/>
                  </a:lnTo>
                  <a:close/>
                </a:path>
              </a:pathLst>
            </a:custGeom>
            <a:solidFill>
              <a:srgbClr val="B12233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BA5A08C-11A9-4794-B228-B3EF45638589}"/>
                </a:ext>
              </a:extLst>
            </p:cNvPr>
            <p:cNvSpPr/>
            <p:nvPr/>
          </p:nvSpPr>
          <p:spPr>
            <a:xfrm>
              <a:off x="19669525" y="10710663"/>
              <a:ext cx="1383391" cy="70930"/>
            </a:xfrm>
            <a:custGeom>
              <a:avLst/>
              <a:gdLst>
                <a:gd name="connsiteX0" fmla="*/ 0 w 1383391"/>
                <a:gd name="connsiteY0" fmla="*/ 0 h 70930"/>
                <a:gd name="connsiteX1" fmla="*/ 1383392 w 1383391"/>
                <a:gd name="connsiteY1" fmla="*/ 0 h 70930"/>
                <a:gd name="connsiteX2" fmla="*/ 1383392 w 1383391"/>
                <a:gd name="connsiteY2" fmla="*/ 70930 h 70930"/>
                <a:gd name="connsiteX3" fmla="*/ 0 w 1383391"/>
                <a:gd name="connsiteY3" fmla="*/ 70930 h 7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3391" h="70930">
                  <a:moveTo>
                    <a:pt x="0" y="0"/>
                  </a:moveTo>
                  <a:lnTo>
                    <a:pt x="1383392" y="0"/>
                  </a:lnTo>
                  <a:lnTo>
                    <a:pt x="1383392" y="70930"/>
                  </a:lnTo>
                  <a:lnTo>
                    <a:pt x="0" y="70930"/>
                  </a:lnTo>
                  <a:close/>
                </a:path>
              </a:pathLst>
            </a:custGeom>
            <a:solidFill>
              <a:srgbClr val="B12233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2419F59-54A9-47E6-AD84-02BFCA433A8E}"/>
                </a:ext>
              </a:extLst>
            </p:cNvPr>
            <p:cNvSpPr/>
            <p:nvPr/>
          </p:nvSpPr>
          <p:spPr>
            <a:xfrm>
              <a:off x="19669525" y="10639733"/>
              <a:ext cx="1383391" cy="70930"/>
            </a:xfrm>
            <a:custGeom>
              <a:avLst/>
              <a:gdLst>
                <a:gd name="connsiteX0" fmla="*/ 0 w 1383391"/>
                <a:gd name="connsiteY0" fmla="*/ 0 h 70930"/>
                <a:gd name="connsiteX1" fmla="*/ 1383392 w 1383391"/>
                <a:gd name="connsiteY1" fmla="*/ 0 h 70930"/>
                <a:gd name="connsiteX2" fmla="*/ 1383392 w 1383391"/>
                <a:gd name="connsiteY2" fmla="*/ 70930 h 70930"/>
                <a:gd name="connsiteX3" fmla="*/ 0 w 1383391"/>
                <a:gd name="connsiteY3" fmla="*/ 70930 h 7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3391" h="70930">
                  <a:moveTo>
                    <a:pt x="0" y="0"/>
                  </a:moveTo>
                  <a:lnTo>
                    <a:pt x="1383392" y="0"/>
                  </a:lnTo>
                  <a:lnTo>
                    <a:pt x="1383392" y="70930"/>
                  </a:lnTo>
                  <a:lnTo>
                    <a:pt x="0" y="7093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A824CC33-7BD1-4B34-9A19-C9DCB610D7D3}"/>
                </a:ext>
              </a:extLst>
            </p:cNvPr>
            <p:cNvSpPr/>
            <p:nvPr/>
          </p:nvSpPr>
          <p:spPr>
            <a:xfrm>
              <a:off x="19669525" y="10781593"/>
              <a:ext cx="1383391" cy="70930"/>
            </a:xfrm>
            <a:custGeom>
              <a:avLst/>
              <a:gdLst>
                <a:gd name="connsiteX0" fmla="*/ 0 w 1383391"/>
                <a:gd name="connsiteY0" fmla="*/ 0 h 70930"/>
                <a:gd name="connsiteX1" fmla="*/ 1383392 w 1383391"/>
                <a:gd name="connsiteY1" fmla="*/ 0 h 70930"/>
                <a:gd name="connsiteX2" fmla="*/ 1383392 w 1383391"/>
                <a:gd name="connsiteY2" fmla="*/ 70930 h 70930"/>
                <a:gd name="connsiteX3" fmla="*/ 0 w 1383391"/>
                <a:gd name="connsiteY3" fmla="*/ 70930 h 7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3391" h="70930">
                  <a:moveTo>
                    <a:pt x="0" y="0"/>
                  </a:moveTo>
                  <a:lnTo>
                    <a:pt x="1383392" y="0"/>
                  </a:lnTo>
                  <a:lnTo>
                    <a:pt x="1383392" y="70930"/>
                  </a:lnTo>
                  <a:lnTo>
                    <a:pt x="0" y="7093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945FDB9-D651-4C84-83EE-169586AE68AD}"/>
                </a:ext>
              </a:extLst>
            </p:cNvPr>
            <p:cNvSpPr/>
            <p:nvPr/>
          </p:nvSpPr>
          <p:spPr>
            <a:xfrm>
              <a:off x="19669525" y="10852523"/>
              <a:ext cx="1383391" cy="70930"/>
            </a:xfrm>
            <a:custGeom>
              <a:avLst/>
              <a:gdLst>
                <a:gd name="connsiteX0" fmla="*/ 0 w 1383391"/>
                <a:gd name="connsiteY0" fmla="*/ 0 h 70930"/>
                <a:gd name="connsiteX1" fmla="*/ 1383392 w 1383391"/>
                <a:gd name="connsiteY1" fmla="*/ 0 h 70930"/>
                <a:gd name="connsiteX2" fmla="*/ 1383392 w 1383391"/>
                <a:gd name="connsiteY2" fmla="*/ 70930 h 70930"/>
                <a:gd name="connsiteX3" fmla="*/ 0 w 1383391"/>
                <a:gd name="connsiteY3" fmla="*/ 70930 h 70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3391" h="70930">
                  <a:moveTo>
                    <a:pt x="0" y="0"/>
                  </a:moveTo>
                  <a:lnTo>
                    <a:pt x="1383392" y="0"/>
                  </a:lnTo>
                  <a:lnTo>
                    <a:pt x="1383392" y="70930"/>
                  </a:lnTo>
                  <a:lnTo>
                    <a:pt x="0" y="70930"/>
                  </a:lnTo>
                  <a:close/>
                </a:path>
              </a:pathLst>
            </a:custGeom>
            <a:solidFill>
              <a:srgbClr val="B12233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945F131A-32F2-47D9-AE12-EE4C13AF1589}"/>
                </a:ext>
              </a:extLst>
            </p:cNvPr>
            <p:cNvSpPr/>
            <p:nvPr/>
          </p:nvSpPr>
          <p:spPr>
            <a:xfrm>
              <a:off x="19669525" y="10426892"/>
              <a:ext cx="700384" cy="496612"/>
            </a:xfrm>
            <a:custGeom>
              <a:avLst/>
              <a:gdLst>
                <a:gd name="connsiteX0" fmla="*/ 0 w 700384"/>
                <a:gd name="connsiteY0" fmla="*/ 0 h 496612"/>
                <a:gd name="connsiteX1" fmla="*/ 700385 w 700384"/>
                <a:gd name="connsiteY1" fmla="*/ 0 h 496612"/>
                <a:gd name="connsiteX2" fmla="*/ 700385 w 700384"/>
                <a:gd name="connsiteY2" fmla="*/ 496613 h 496612"/>
                <a:gd name="connsiteX3" fmla="*/ 0 w 700384"/>
                <a:gd name="connsiteY3" fmla="*/ 496613 h 496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0384" h="496612">
                  <a:moveTo>
                    <a:pt x="0" y="0"/>
                  </a:moveTo>
                  <a:lnTo>
                    <a:pt x="700385" y="0"/>
                  </a:lnTo>
                  <a:lnTo>
                    <a:pt x="700385" y="496613"/>
                  </a:lnTo>
                  <a:lnTo>
                    <a:pt x="0" y="496613"/>
                  </a:lnTo>
                  <a:close/>
                </a:path>
              </a:pathLst>
            </a:custGeom>
            <a:solidFill>
              <a:srgbClr val="3C3B6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A8B19544-4C27-43E1-A47D-781C6C514A87}"/>
                </a:ext>
              </a:extLst>
            </p:cNvPr>
            <p:cNvSpPr/>
            <p:nvPr/>
          </p:nvSpPr>
          <p:spPr>
            <a:xfrm>
              <a:off x="19700379" y="10450501"/>
              <a:ext cx="54920" cy="52235"/>
            </a:xfrm>
            <a:custGeom>
              <a:avLst/>
              <a:gdLst>
                <a:gd name="connsiteX0" fmla="*/ 27460 w 54920"/>
                <a:gd name="connsiteY0" fmla="*/ 0 h 52235"/>
                <a:gd name="connsiteX1" fmla="*/ 33945 w 54920"/>
                <a:gd name="connsiteY1" fmla="*/ 19962 h 52235"/>
                <a:gd name="connsiteX2" fmla="*/ 54920 w 54920"/>
                <a:gd name="connsiteY2" fmla="*/ 19962 h 52235"/>
                <a:gd name="connsiteX3" fmla="*/ 37948 w 54920"/>
                <a:gd name="connsiteY3" fmla="*/ 32273 h 52235"/>
                <a:gd name="connsiteX4" fmla="*/ 44433 w 54920"/>
                <a:gd name="connsiteY4" fmla="*/ 52235 h 52235"/>
                <a:gd name="connsiteX5" fmla="*/ 27460 w 54920"/>
                <a:gd name="connsiteY5" fmla="*/ 39924 h 52235"/>
                <a:gd name="connsiteX6" fmla="*/ 10488 w 54920"/>
                <a:gd name="connsiteY6" fmla="*/ 52235 h 52235"/>
                <a:gd name="connsiteX7" fmla="*/ 16973 w 54920"/>
                <a:gd name="connsiteY7" fmla="*/ 32273 h 52235"/>
                <a:gd name="connsiteX8" fmla="*/ 0 w 54920"/>
                <a:gd name="connsiteY8" fmla="*/ 19962 h 52235"/>
                <a:gd name="connsiteX9" fmla="*/ 20975 w 54920"/>
                <a:gd name="connsiteY9" fmla="*/ 19962 h 52235"/>
                <a:gd name="connsiteX10" fmla="*/ 27460 w 5492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5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8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5E0611B-2FEA-49D6-8F83-E0EBA215C63C}"/>
                </a:ext>
              </a:extLst>
            </p:cNvPr>
            <p:cNvSpPr/>
            <p:nvPr/>
          </p:nvSpPr>
          <p:spPr>
            <a:xfrm>
              <a:off x="20284135" y="10450501"/>
              <a:ext cx="54920" cy="52235"/>
            </a:xfrm>
            <a:custGeom>
              <a:avLst/>
              <a:gdLst>
                <a:gd name="connsiteX0" fmla="*/ 27460 w 54920"/>
                <a:gd name="connsiteY0" fmla="*/ 0 h 52235"/>
                <a:gd name="connsiteX1" fmla="*/ 33945 w 54920"/>
                <a:gd name="connsiteY1" fmla="*/ 19962 h 52235"/>
                <a:gd name="connsiteX2" fmla="*/ 54920 w 54920"/>
                <a:gd name="connsiteY2" fmla="*/ 19962 h 52235"/>
                <a:gd name="connsiteX3" fmla="*/ 37948 w 54920"/>
                <a:gd name="connsiteY3" fmla="*/ 32273 h 52235"/>
                <a:gd name="connsiteX4" fmla="*/ 44433 w 54920"/>
                <a:gd name="connsiteY4" fmla="*/ 52235 h 52235"/>
                <a:gd name="connsiteX5" fmla="*/ 27460 w 54920"/>
                <a:gd name="connsiteY5" fmla="*/ 39924 h 52235"/>
                <a:gd name="connsiteX6" fmla="*/ 10487 w 54920"/>
                <a:gd name="connsiteY6" fmla="*/ 52235 h 52235"/>
                <a:gd name="connsiteX7" fmla="*/ 16973 w 54920"/>
                <a:gd name="connsiteY7" fmla="*/ 32273 h 52235"/>
                <a:gd name="connsiteX8" fmla="*/ 0 w 54920"/>
                <a:gd name="connsiteY8" fmla="*/ 19962 h 52235"/>
                <a:gd name="connsiteX9" fmla="*/ 20975 w 54920"/>
                <a:gd name="connsiteY9" fmla="*/ 19962 h 52235"/>
                <a:gd name="connsiteX10" fmla="*/ 27460 w 5492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5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7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1A9006B-2A35-4119-80FD-BC33163AB871}"/>
                </a:ext>
              </a:extLst>
            </p:cNvPr>
            <p:cNvSpPr/>
            <p:nvPr/>
          </p:nvSpPr>
          <p:spPr>
            <a:xfrm>
              <a:off x="20167353" y="10450501"/>
              <a:ext cx="54970" cy="52235"/>
            </a:xfrm>
            <a:custGeom>
              <a:avLst/>
              <a:gdLst>
                <a:gd name="connsiteX0" fmla="*/ 27511 w 54970"/>
                <a:gd name="connsiteY0" fmla="*/ 0 h 52235"/>
                <a:gd name="connsiteX1" fmla="*/ 33945 w 54970"/>
                <a:gd name="connsiteY1" fmla="*/ 19962 h 52235"/>
                <a:gd name="connsiteX2" fmla="*/ 54971 w 54970"/>
                <a:gd name="connsiteY2" fmla="*/ 19962 h 52235"/>
                <a:gd name="connsiteX3" fmla="*/ 37998 w 54970"/>
                <a:gd name="connsiteY3" fmla="*/ 32273 h 52235"/>
                <a:gd name="connsiteX4" fmla="*/ 44483 w 54970"/>
                <a:gd name="connsiteY4" fmla="*/ 52235 h 52235"/>
                <a:gd name="connsiteX5" fmla="*/ 27511 w 54970"/>
                <a:gd name="connsiteY5" fmla="*/ 39924 h 52235"/>
                <a:gd name="connsiteX6" fmla="*/ 10488 w 54970"/>
                <a:gd name="connsiteY6" fmla="*/ 52235 h 52235"/>
                <a:gd name="connsiteX7" fmla="*/ 16973 w 54970"/>
                <a:gd name="connsiteY7" fmla="*/ 32273 h 52235"/>
                <a:gd name="connsiteX8" fmla="*/ 0 w 54970"/>
                <a:gd name="connsiteY8" fmla="*/ 19962 h 52235"/>
                <a:gd name="connsiteX9" fmla="*/ 20975 w 54970"/>
                <a:gd name="connsiteY9" fmla="*/ 19962 h 52235"/>
                <a:gd name="connsiteX10" fmla="*/ 27511 w 5497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70" h="52235">
                  <a:moveTo>
                    <a:pt x="27511" y="0"/>
                  </a:moveTo>
                  <a:lnTo>
                    <a:pt x="33945" y="19962"/>
                  </a:lnTo>
                  <a:lnTo>
                    <a:pt x="54971" y="19962"/>
                  </a:lnTo>
                  <a:lnTo>
                    <a:pt x="37998" y="32273"/>
                  </a:lnTo>
                  <a:lnTo>
                    <a:pt x="44483" y="52235"/>
                  </a:lnTo>
                  <a:lnTo>
                    <a:pt x="27511" y="39924"/>
                  </a:lnTo>
                  <a:lnTo>
                    <a:pt x="10488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511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7F7D192-E04D-4EB7-8DD2-8DC2B42FA901}"/>
                </a:ext>
              </a:extLst>
            </p:cNvPr>
            <p:cNvSpPr/>
            <p:nvPr/>
          </p:nvSpPr>
          <p:spPr>
            <a:xfrm>
              <a:off x="20050623" y="10450501"/>
              <a:ext cx="54920" cy="52235"/>
            </a:xfrm>
            <a:custGeom>
              <a:avLst/>
              <a:gdLst>
                <a:gd name="connsiteX0" fmla="*/ 27460 w 54920"/>
                <a:gd name="connsiteY0" fmla="*/ 0 h 52235"/>
                <a:gd name="connsiteX1" fmla="*/ 33945 w 54920"/>
                <a:gd name="connsiteY1" fmla="*/ 19962 h 52235"/>
                <a:gd name="connsiteX2" fmla="*/ 54920 w 54920"/>
                <a:gd name="connsiteY2" fmla="*/ 19962 h 52235"/>
                <a:gd name="connsiteX3" fmla="*/ 37948 w 54920"/>
                <a:gd name="connsiteY3" fmla="*/ 32273 h 52235"/>
                <a:gd name="connsiteX4" fmla="*/ 44433 w 54920"/>
                <a:gd name="connsiteY4" fmla="*/ 52235 h 52235"/>
                <a:gd name="connsiteX5" fmla="*/ 27460 w 54920"/>
                <a:gd name="connsiteY5" fmla="*/ 39924 h 52235"/>
                <a:gd name="connsiteX6" fmla="*/ 10487 w 54920"/>
                <a:gd name="connsiteY6" fmla="*/ 52235 h 52235"/>
                <a:gd name="connsiteX7" fmla="*/ 16973 w 54920"/>
                <a:gd name="connsiteY7" fmla="*/ 32273 h 52235"/>
                <a:gd name="connsiteX8" fmla="*/ 0 w 54920"/>
                <a:gd name="connsiteY8" fmla="*/ 19962 h 52235"/>
                <a:gd name="connsiteX9" fmla="*/ 20975 w 54920"/>
                <a:gd name="connsiteY9" fmla="*/ 19962 h 52235"/>
                <a:gd name="connsiteX10" fmla="*/ 27460 w 5492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5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7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A0760D67-96BD-453E-B5C9-B8CB6D81BA42}"/>
                </a:ext>
              </a:extLst>
            </p:cNvPr>
            <p:cNvSpPr/>
            <p:nvPr/>
          </p:nvSpPr>
          <p:spPr>
            <a:xfrm>
              <a:off x="19933841" y="10450501"/>
              <a:ext cx="54970" cy="52235"/>
            </a:xfrm>
            <a:custGeom>
              <a:avLst/>
              <a:gdLst>
                <a:gd name="connsiteX0" fmla="*/ 27511 w 54970"/>
                <a:gd name="connsiteY0" fmla="*/ 0 h 52235"/>
                <a:gd name="connsiteX1" fmla="*/ 33996 w 54970"/>
                <a:gd name="connsiteY1" fmla="*/ 19962 h 52235"/>
                <a:gd name="connsiteX2" fmla="*/ 54971 w 54970"/>
                <a:gd name="connsiteY2" fmla="*/ 19962 h 52235"/>
                <a:gd name="connsiteX3" fmla="*/ 37998 w 54970"/>
                <a:gd name="connsiteY3" fmla="*/ 32273 h 52235"/>
                <a:gd name="connsiteX4" fmla="*/ 44483 w 54970"/>
                <a:gd name="connsiteY4" fmla="*/ 52235 h 52235"/>
                <a:gd name="connsiteX5" fmla="*/ 27511 w 54970"/>
                <a:gd name="connsiteY5" fmla="*/ 39924 h 52235"/>
                <a:gd name="connsiteX6" fmla="*/ 10538 w 54970"/>
                <a:gd name="connsiteY6" fmla="*/ 52235 h 52235"/>
                <a:gd name="connsiteX7" fmla="*/ 16973 w 54970"/>
                <a:gd name="connsiteY7" fmla="*/ 32273 h 52235"/>
                <a:gd name="connsiteX8" fmla="*/ 0 w 54970"/>
                <a:gd name="connsiteY8" fmla="*/ 19962 h 52235"/>
                <a:gd name="connsiteX9" fmla="*/ 21026 w 54970"/>
                <a:gd name="connsiteY9" fmla="*/ 19962 h 52235"/>
                <a:gd name="connsiteX10" fmla="*/ 27511 w 5497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70" h="52235">
                  <a:moveTo>
                    <a:pt x="27511" y="0"/>
                  </a:moveTo>
                  <a:lnTo>
                    <a:pt x="33996" y="19962"/>
                  </a:lnTo>
                  <a:lnTo>
                    <a:pt x="54971" y="19962"/>
                  </a:lnTo>
                  <a:lnTo>
                    <a:pt x="37998" y="32273"/>
                  </a:lnTo>
                  <a:lnTo>
                    <a:pt x="44483" y="52235"/>
                  </a:lnTo>
                  <a:lnTo>
                    <a:pt x="27511" y="39924"/>
                  </a:lnTo>
                  <a:lnTo>
                    <a:pt x="10538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1026" y="19962"/>
                  </a:lnTo>
                  <a:lnTo>
                    <a:pt x="27511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89AE7DB-1115-402B-B710-F2352DB79976}"/>
                </a:ext>
              </a:extLst>
            </p:cNvPr>
            <p:cNvSpPr/>
            <p:nvPr/>
          </p:nvSpPr>
          <p:spPr>
            <a:xfrm>
              <a:off x="19817110" y="10450501"/>
              <a:ext cx="54920" cy="52235"/>
            </a:xfrm>
            <a:custGeom>
              <a:avLst/>
              <a:gdLst>
                <a:gd name="connsiteX0" fmla="*/ 27460 w 54920"/>
                <a:gd name="connsiteY0" fmla="*/ 0 h 52235"/>
                <a:gd name="connsiteX1" fmla="*/ 33945 w 54920"/>
                <a:gd name="connsiteY1" fmla="*/ 19962 h 52235"/>
                <a:gd name="connsiteX2" fmla="*/ 54920 w 54920"/>
                <a:gd name="connsiteY2" fmla="*/ 19962 h 52235"/>
                <a:gd name="connsiteX3" fmla="*/ 37948 w 54920"/>
                <a:gd name="connsiteY3" fmla="*/ 32273 h 52235"/>
                <a:gd name="connsiteX4" fmla="*/ 44433 w 54920"/>
                <a:gd name="connsiteY4" fmla="*/ 52235 h 52235"/>
                <a:gd name="connsiteX5" fmla="*/ 27460 w 54920"/>
                <a:gd name="connsiteY5" fmla="*/ 39924 h 52235"/>
                <a:gd name="connsiteX6" fmla="*/ 10488 w 54920"/>
                <a:gd name="connsiteY6" fmla="*/ 52235 h 52235"/>
                <a:gd name="connsiteX7" fmla="*/ 16973 w 54920"/>
                <a:gd name="connsiteY7" fmla="*/ 32273 h 52235"/>
                <a:gd name="connsiteX8" fmla="*/ 0 w 54920"/>
                <a:gd name="connsiteY8" fmla="*/ 19962 h 52235"/>
                <a:gd name="connsiteX9" fmla="*/ 20975 w 54920"/>
                <a:gd name="connsiteY9" fmla="*/ 19962 h 52235"/>
                <a:gd name="connsiteX10" fmla="*/ 27460 w 5492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5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8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D042AD2B-0E33-458E-B516-60326815DBA3}"/>
                </a:ext>
              </a:extLst>
            </p:cNvPr>
            <p:cNvSpPr/>
            <p:nvPr/>
          </p:nvSpPr>
          <p:spPr>
            <a:xfrm>
              <a:off x="19700379" y="10549803"/>
              <a:ext cx="54920" cy="52235"/>
            </a:xfrm>
            <a:custGeom>
              <a:avLst/>
              <a:gdLst>
                <a:gd name="connsiteX0" fmla="*/ 27460 w 54920"/>
                <a:gd name="connsiteY0" fmla="*/ 0 h 52235"/>
                <a:gd name="connsiteX1" fmla="*/ 33945 w 54920"/>
                <a:gd name="connsiteY1" fmla="*/ 19962 h 52235"/>
                <a:gd name="connsiteX2" fmla="*/ 54920 w 54920"/>
                <a:gd name="connsiteY2" fmla="*/ 19962 h 52235"/>
                <a:gd name="connsiteX3" fmla="*/ 37948 w 54920"/>
                <a:gd name="connsiteY3" fmla="*/ 32273 h 52235"/>
                <a:gd name="connsiteX4" fmla="*/ 44433 w 54920"/>
                <a:gd name="connsiteY4" fmla="*/ 52235 h 52235"/>
                <a:gd name="connsiteX5" fmla="*/ 27460 w 54920"/>
                <a:gd name="connsiteY5" fmla="*/ 39873 h 52235"/>
                <a:gd name="connsiteX6" fmla="*/ 10488 w 54920"/>
                <a:gd name="connsiteY6" fmla="*/ 52235 h 52235"/>
                <a:gd name="connsiteX7" fmla="*/ 16973 w 54920"/>
                <a:gd name="connsiteY7" fmla="*/ 32273 h 52235"/>
                <a:gd name="connsiteX8" fmla="*/ 0 w 54920"/>
                <a:gd name="connsiteY8" fmla="*/ 19962 h 52235"/>
                <a:gd name="connsiteX9" fmla="*/ 20975 w 54920"/>
                <a:gd name="connsiteY9" fmla="*/ 19962 h 52235"/>
                <a:gd name="connsiteX10" fmla="*/ 27460 w 5492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5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873"/>
                  </a:lnTo>
                  <a:lnTo>
                    <a:pt x="10488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E8C0A8D-B617-46A7-8B0C-DFCA64B0C285}"/>
                </a:ext>
              </a:extLst>
            </p:cNvPr>
            <p:cNvSpPr/>
            <p:nvPr/>
          </p:nvSpPr>
          <p:spPr>
            <a:xfrm>
              <a:off x="20284135" y="10549803"/>
              <a:ext cx="54920" cy="52235"/>
            </a:xfrm>
            <a:custGeom>
              <a:avLst/>
              <a:gdLst>
                <a:gd name="connsiteX0" fmla="*/ 27460 w 54920"/>
                <a:gd name="connsiteY0" fmla="*/ 0 h 52235"/>
                <a:gd name="connsiteX1" fmla="*/ 33945 w 54920"/>
                <a:gd name="connsiteY1" fmla="*/ 19962 h 52235"/>
                <a:gd name="connsiteX2" fmla="*/ 54920 w 54920"/>
                <a:gd name="connsiteY2" fmla="*/ 19962 h 52235"/>
                <a:gd name="connsiteX3" fmla="*/ 37948 w 54920"/>
                <a:gd name="connsiteY3" fmla="*/ 32273 h 52235"/>
                <a:gd name="connsiteX4" fmla="*/ 44433 w 54920"/>
                <a:gd name="connsiteY4" fmla="*/ 52235 h 52235"/>
                <a:gd name="connsiteX5" fmla="*/ 27460 w 54920"/>
                <a:gd name="connsiteY5" fmla="*/ 39873 h 52235"/>
                <a:gd name="connsiteX6" fmla="*/ 10487 w 54920"/>
                <a:gd name="connsiteY6" fmla="*/ 52235 h 52235"/>
                <a:gd name="connsiteX7" fmla="*/ 16973 w 54920"/>
                <a:gd name="connsiteY7" fmla="*/ 32273 h 52235"/>
                <a:gd name="connsiteX8" fmla="*/ 0 w 54920"/>
                <a:gd name="connsiteY8" fmla="*/ 19962 h 52235"/>
                <a:gd name="connsiteX9" fmla="*/ 20975 w 54920"/>
                <a:gd name="connsiteY9" fmla="*/ 19962 h 52235"/>
                <a:gd name="connsiteX10" fmla="*/ 27460 w 5492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5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873"/>
                  </a:lnTo>
                  <a:lnTo>
                    <a:pt x="10487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A97C432-3B7D-4CCB-B41C-387CCD4CDA28}"/>
                </a:ext>
              </a:extLst>
            </p:cNvPr>
            <p:cNvSpPr/>
            <p:nvPr/>
          </p:nvSpPr>
          <p:spPr>
            <a:xfrm>
              <a:off x="20167353" y="10549803"/>
              <a:ext cx="54970" cy="52235"/>
            </a:xfrm>
            <a:custGeom>
              <a:avLst/>
              <a:gdLst>
                <a:gd name="connsiteX0" fmla="*/ 27511 w 54970"/>
                <a:gd name="connsiteY0" fmla="*/ 0 h 52235"/>
                <a:gd name="connsiteX1" fmla="*/ 33945 w 54970"/>
                <a:gd name="connsiteY1" fmla="*/ 19962 h 52235"/>
                <a:gd name="connsiteX2" fmla="*/ 54971 w 54970"/>
                <a:gd name="connsiteY2" fmla="*/ 19962 h 52235"/>
                <a:gd name="connsiteX3" fmla="*/ 37998 w 54970"/>
                <a:gd name="connsiteY3" fmla="*/ 32273 h 52235"/>
                <a:gd name="connsiteX4" fmla="*/ 44483 w 54970"/>
                <a:gd name="connsiteY4" fmla="*/ 52235 h 52235"/>
                <a:gd name="connsiteX5" fmla="*/ 27511 w 54970"/>
                <a:gd name="connsiteY5" fmla="*/ 39873 h 52235"/>
                <a:gd name="connsiteX6" fmla="*/ 10488 w 54970"/>
                <a:gd name="connsiteY6" fmla="*/ 52235 h 52235"/>
                <a:gd name="connsiteX7" fmla="*/ 16973 w 54970"/>
                <a:gd name="connsiteY7" fmla="*/ 32273 h 52235"/>
                <a:gd name="connsiteX8" fmla="*/ 0 w 54970"/>
                <a:gd name="connsiteY8" fmla="*/ 19962 h 52235"/>
                <a:gd name="connsiteX9" fmla="*/ 20975 w 54970"/>
                <a:gd name="connsiteY9" fmla="*/ 19962 h 52235"/>
                <a:gd name="connsiteX10" fmla="*/ 27511 w 5497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70" h="52235">
                  <a:moveTo>
                    <a:pt x="27511" y="0"/>
                  </a:moveTo>
                  <a:lnTo>
                    <a:pt x="33945" y="19962"/>
                  </a:lnTo>
                  <a:lnTo>
                    <a:pt x="54971" y="19962"/>
                  </a:lnTo>
                  <a:lnTo>
                    <a:pt x="37998" y="32273"/>
                  </a:lnTo>
                  <a:lnTo>
                    <a:pt x="44483" y="52235"/>
                  </a:lnTo>
                  <a:lnTo>
                    <a:pt x="27511" y="39873"/>
                  </a:lnTo>
                  <a:lnTo>
                    <a:pt x="10488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511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4B31D1B1-A0A3-4BD4-8B86-AE536E66A2DA}"/>
                </a:ext>
              </a:extLst>
            </p:cNvPr>
            <p:cNvSpPr/>
            <p:nvPr/>
          </p:nvSpPr>
          <p:spPr>
            <a:xfrm>
              <a:off x="20050623" y="10549803"/>
              <a:ext cx="54920" cy="52235"/>
            </a:xfrm>
            <a:custGeom>
              <a:avLst/>
              <a:gdLst>
                <a:gd name="connsiteX0" fmla="*/ 27460 w 54920"/>
                <a:gd name="connsiteY0" fmla="*/ 0 h 52235"/>
                <a:gd name="connsiteX1" fmla="*/ 33945 w 54920"/>
                <a:gd name="connsiteY1" fmla="*/ 19962 h 52235"/>
                <a:gd name="connsiteX2" fmla="*/ 54920 w 54920"/>
                <a:gd name="connsiteY2" fmla="*/ 19962 h 52235"/>
                <a:gd name="connsiteX3" fmla="*/ 37948 w 54920"/>
                <a:gd name="connsiteY3" fmla="*/ 32273 h 52235"/>
                <a:gd name="connsiteX4" fmla="*/ 44433 w 54920"/>
                <a:gd name="connsiteY4" fmla="*/ 52235 h 52235"/>
                <a:gd name="connsiteX5" fmla="*/ 27460 w 54920"/>
                <a:gd name="connsiteY5" fmla="*/ 39873 h 52235"/>
                <a:gd name="connsiteX6" fmla="*/ 10487 w 54920"/>
                <a:gd name="connsiteY6" fmla="*/ 52235 h 52235"/>
                <a:gd name="connsiteX7" fmla="*/ 16973 w 54920"/>
                <a:gd name="connsiteY7" fmla="*/ 32273 h 52235"/>
                <a:gd name="connsiteX8" fmla="*/ 0 w 54920"/>
                <a:gd name="connsiteY8" fmla="*/ 19962 h 52235"/>
                <a:gd name="connsiteX9" fmla="*/ 20975 w 54920"/>
                <a:gd name="connsiteY9" fmla="*/ 19962 h 52235"/>
                <a:gd name="connsiteX10" fmla="*/ 27460 w 5492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5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873"/>
                  </a:lnTo>
                  <a:lnTo>
                    <a:pt x="10487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5D24D001-B399-46E7-A39C-1E280CD34AEC}"/>
                </a:ext>
              </a:extLst>
            </p:cNvPr>
            <p:cNvSpPr/>
            <p:nvPr/>
          </p:nvSpPr>
          <p:spPr>
            <a:xfrm>
              <a:off x="19933841" y="10549803"/>
              <a:ext cx="54970" cy="52235"/>
            </a:xfrm>
            <a:custGeom>
              <a:avLst/>
              <a:gdLst>
                <a:gd name="connsiteX0" fmla="*/ 27511 w 54970"/>
                <a:gd name="connsiteY0" fmla="*/ 0 h 52235"/>
                <a:gd name="connsiteX1" fmla="*/ 33996 w 54970"/>
                <a:gd name="connsiteY1" fmla="*/ 19962 h 52235"/>
                <a:gd name="connsiteX2" fmla="*/ 54971 w 54970"/>
                <a:gd name="connsiteY2" fmla="*/ 19962 h 52235"/>
                <a:gd name="connsiteX3" fmla="*/ 37998 w 54970"/>
                <a:gd name="connsiteY3" fmla="*/ 32273 h 52235"/>
                <a:gd name="connsiteX4" fmla="*/ 44483 w 54970"/>
                <a:gd name="connsiteY4" fmla="*/ 52235 h 52235"/>
                <a:gd name="connsiteX5" fmla="*/ 27511 w 54970"/>
                <a:gd name="connsiteY5" fmla="*/ 39873 h 52235"/>
                <a:gd name="connsiteX6" fmla="*/ 10538 w 54970"/>
                <a:gd name="connsiteY6" fmla="*/ 52235 h 52235"/>
                <a:gd name="connsiteX7" fmla="*/ 16973 w 54970"/>
                <a:gd name="connsiteY7" fmla="*/ 32273 h 52235"/>
                <a:gd name="connsiteX8" fmla="*/ 0 w 54970"/>
                <a:gd name="connsiteY8" fmla="*/ 19962 h 52235"/>
                <a:gd name="connsiteX9" fmla="*/ 21026 w 54970"/>
                <a:gd name="connsiteY9" fmla="*/ 19962 h 52235"/>
                <a:gd name="connsiteX10" fmla="*/ 27511 w 5497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70" h="52235">
                  <a:moveTo>
                    <a:pt x="27511" y="0"/>
                  </a:moveTo>
                  <a:lnTo>
                    <a:pt x="33996" y="19962"/>
                  </a:lnTo>
                  <a:lnTo>
                    <a:pt x="54971" y="19962"/>
                  </a:lnTo>
                  <a:lnTo>
                    <a:pt x="37998" y="32273"/>
                  </a:lnTo>
                  <a:lnTo>
                    <a:pt x="44483" y="52235"/>
                  </a:lnTo>
                  <a:lnTo>
                    <a:pt x="27511" y="39873"/>
                  </a:lnTo>
                  <a:lnTo>
                    <a:pt x="10538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1026" y="19962"/>
                  </a:lnTo>
                  <a:lnTo>
                    <a:pt x="27511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AC5B83FF-247C-46D9-A4A8-D538C46BAB4F}"/>
                </a:ext>
              </a:extLst>
            </p:cNvPr>
            <p:cNvSpPr/>
            <p:nvPr/>
          </p:nvSpPr>
          <p:spPr>
            <a:xfrm>
              <a:off x="19817110" y="10549803"/>
              <a:ext cx="54920" cy="52235"/>
            </a:xfrm>
            <a:custGeom>
              <a:avLst/>
              <a:gdLst>
                <a:gd name="connsiteX0" fmla="*/ 27460 w 54920"/>
                <a:gd name="connsiteY0" fmla="*/ 0 h 52235"/>
                <a:gd name="connsiteX1" fmla="*/ 33945 w 54920"/>
                <a:gd name="connsiteY1" fmla="*/ 19962 h 52235"/>
                <a:gd name="connsiteX2" fmla="*/ 54920 w 54920"/>
                <a:gd name="connsiteY2" fmla="*/ 19962 h 52235"/>
                <a:gd name="connsiteX3" fmla="*/ 37948 w 54920"/>
                <a:gd name="connsiteY3" fmla="*/ 32273 h 52235"/>
                <a:gd name="connsiteX4" fmla="*/ 44433 w 54920"/>
                <a:gd name="connsiteY4" fmla="*/ 52235 h 52235"/>
                <a:gd name="connsiteX5" fmla="*/ 27460 w 54920"/>
                <a:gd name="connsiteY5" fmla="*/ 39873 h 52235"/>
                <a:gd name="connsiteX6" fmla="*/ 10488 w 54920"/>
                <a:gd name="connsiteY6" fmla="*/ 52235 h 52235"/>
                <a:gd name="connsiteX7" fmla="*/ 16973 w 54920"/>
                <a:gd name="connsiteY7" fmla="*/ 32273 h 52235"/>
                <a:gd name="connsiteX8" fmla="*/ 0 w 54920"/>
                <a:gd name="connsiteY8" fmla="*/ 19962 h 52235"/>
                <a:gd name="connsiteX9" fmla="*/ 20975 w 54920"/>
                <a:gd name="connsiteY9" fmla="*/ 19962 h 52235"/>
                <a:gd name="connsiteX10" fmla="*/ 27460 w 5492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5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873"/>
                  </a:lnTo>
                  <a:lnTo>
                    <a:pt x="10488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459EFB45-D438-42AF-A5A6-E0E3758F2C96}"/>
                </a:ext>
              </a:extLst>
            </p:cNvPr>
            <p:cNvSpPr/>
            <p:nvPr/>
          </p:nvSpPr>
          <p:spPr>
            <a:xfrm>
              <a:off x="19700379" y="10649055"/>
              <a:ext cx="54920" cy="52235"/>
            </a:xfrm>
            <a:custGeom>
              <a:avLst/>
              <a:gdLst>
                <a:gd name="connsiteX0" fmla="*/ 27460 w 54920"/>
                <a:gd name="connsiteY0" fmla="*/ 0 h 52235"/>
                <a:gd name="connsiteX1" fmla="*/ 33945 w 54920"/>
                <a:gd name="connsiteY1" fmla="*/ 19962 h 52235"/>
                <a:gd name="connsiteX2" fmla="*/ 54920 w 54920"/>
                <a:gd name="connsiteY2" fmla="*/ 19962 h 52235"/>
                <a:gd name="connsiteX3" fmla="*/ 37948 w 54920"/>
                <a:gd name="connsiteY3" fmla="*/ 32324 h 52235"/>
                <a:gd name="connsiteX4" fmla="*/ 44433 w 54920"/>
                <a:gd name="connsiteY4" fmla="*/ 52235 h 52235"/>
                <a:gd name="connsiteX5" fmla="*/ 27460 w 54920"/>
                <a:gd name="connsiteY5" fmla="*/ 39924 h 52235"/>
                <a:gd name="connsiteX6" fmla="*/ 10488 w 54920"/>
                <a:gd name="connsiteY6" fmla="*/ 52235 h 52235"/>
                <a:gd name="connsiteX7" fmla="*/ 16973 w 54920"/>
                <a:gd name="connsiteY7" fmla="*/ 32324 h 52235"/>
                <a:gd name="connsiteX8" fmla="*/ 0 w 54920"/>
                <a:gd name="connsiteY8" fmla="*/ 19962 h 52235"/>
                <a:gd name="connsiteX9" fmla="*/ 20975 w 54920"/>
                <a:gd name="connsiteY9" fmla="*/ 19962 h 52235"/>
                <a:gd name="connsiteX10" fmla="*/ 27460 w 5492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5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324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8" y="52235"/>
                  </a:lnTo>
                  <a:lnTo>
                    <a:pt x="16973" y="32324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59EA4C6A-53C7-4BBF-82B6-EE888F74301F}"/>
                </a:ext>
              </a:extLst>
            </p:cNvPr>
            <p:cNvSpPr/>
            <p:nvPr/>
          </p:nvSpPr>
          <p:spPr>
            <a:xfrm>
              <a:off x="20284135" y="10649055"/>
              <a:ext cx="54920" cy="52235"/>
            </a:xfrm>
            <a:custGeom>
              <a:avLst/>
              <a:gdLst>
                <a:gd name="connsiteX0" fmla="*/ 27460 w 54920"/>
                <a:gd name="connsiteY0" fmla="*/ 0 h 52235"/>
                <a:gd name="connsiteX1" fmla="*/ 33945 w 54920"/>
                <a:gd name="connsiteY1" fmla="*/ 19962 h 52235"/>
                <a:gd name="connsiteX2" fmla="*/ 54920 w 54920"/>
                <a:gd name="connsiteY2" fmla="*/ 19962 h 52235"/>
                <a:gd name="connsiteX3" fmla="*/ 37948 w 54920"/>
                <a:gd name="connsiteY3" fmla="*/ 32324 h 52235"/>
                <a:gd name="connsiteX4" fmla="*/ 44433 w 54920"/>
                <a:gd name="connsiteY4" fmla="*/ 52235 h 52235"/>
                <a:gd name="connsiteX5" fmla="*/ 27460 w 54920"/>
                <a:gd name="connsiteY5" fmla="*/ 39924 h 52235"/>
                <a:gd name="connsiteX6" fmla="*/ 10487 w 54920"/>
                <a:gd name="connsiteY6" fmla="*/ 52235 h 52235"/>
                <a:gd name="connsiteX7" fmla="*/ 16973 w 54920"/>
                <a:gd name="connsiteY7" fmla="*/ 32324 h 52235"/>
                <a:gd name="connsiteX8" fmla="*/ 0 w 54920"/>
                <a:gd name="connsiteY8" fmla="*/ 19962 h 52235"/>
                <a:gd name="connsiteX9" fmla="*/ 20975 w 54920"/>
                <a:gd name="connsiteY9" fmla="*/ 19962 h 52235"/>
                <a:gd name="connsiteX10" fmla="*/ 27460 w 5492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5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324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7" y="52235"/>
                  </a:lnTo>
                  <a:lnTo>
                    <a:pt x="16973" y="32324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93FBE192-C998-4780-825F-FDE2AC12CE69}"/>
                </a:ext>
              </a:extLst>
            </p:cNvPr>
            <p:cNvSpPr/>
            <p:nvPr/>
          </p:nvSpPr>
          <p:spPr>
            <a:xfrm>
              <a:off x="20167353" y="10649055"/>
              <a:ext cx="54970" cy="52235"/>
            </a:xfrm>
            <a:custGeom>
              <a:avLst/>
              <a:gdLst>
                <a:gd name="connsiteX0" fmla="*/ 27511 w 54970"/>
                <a:gd name="connsiteY0" fmla="*/ 0 h 52235"/>
                <a:gd name="connsiteX1" fmla="*/ 33945 w 54970"/>
                <a:gd name="connsiteY1" fmla="*/ 19962 h 52235"/>
                <a:gd name="connsiteX2" fmla="*/ 54971 w 54970"/>
                <a:gd name="connsiteY2" fmla="*/ 19962 h 52235"/>
                <a:gd name="connsiteX3" fmla="*/ 37998 w 54970"/>
                <a:gd name="connsiteY3" fmla="*/ 32324 h 52235"/>
                <a:gd name="connsiteX4" fmla="*/ 44483 w 54970"/>
                <a:gd name="connsiteY4" fmla="*/ 52235 h 52235"/>
                <a:gd name="connsiteX5" fmla="*/ 27511 w 54970"/>
                <a:gd name="connsiteY5" fmla="*/ 39924 h 52235"/>
                <a:gd name="connsiteX6" fmla="*/ 10488 w 54970"/>
                <a:gd name="connsiteY6" fmla="*/ 52235 h 52235"/>
                <a:gd name="connsiteX7" fmla="*/ 16973 w 54970"/>
                <a:gd name="connsiteY7" fmla="*/ 32324 h 52235"/>
                <a:gd name="connsiteX8" fmla="*/ 0 w 54970"/>
                <a:gd name="connsiteY8" fmla="*/ 19962 h 52235"/>
                <a:gd name="connsiteX9" fmla="*/ 20975 w 54970"/>
                <a:gd name="connsiteY9" fmla="*/ 19962 h 52235"/>
                <a:gd name="connsiteX10" fmla="*/ 27511 w 5497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70" h="52235">
                  <a:moveTo>
                    <a:pt x="27511" y="0"/>
                  </a:moveTo>
                  <a:lnTo>
                    <a:pt x="33945" y="19962"/>
                  </a:lnTo>
                  <a:lnTo>
                    <a:pt x="54971" y="19962"/>
                  </a:lnTo>
                  <a:lnTo>
                    <a:pt x="37998" y="32324"/>
                  </a:lnTo>
                  <a:lnTo>
                    <a:pt x="44483" y="52235"/>
                  </a:lnTo>
                  <a:lnTo>
                    <a:pt x="27511" y="39924"/>
                  </a:lnTo>
                  <a:lnTo>
                    <a:pt x="10488" y="52235"/>
                  </a:lnTo>
                  <a:lnTo>
                    <a:pt x="16973" y="32324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511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285C5C24-B680-4DC8-8683-FF315E1D9C41}"/>
                </a:ext>
              </a:extLst>
            </p:cNvPr>
            <p:cNvSpPr/>
            <p:nvPr/>
          </p:nvSpPr>
          <p:spPr>
            <a:xfrm>
              <a:off x="20050623" y="10649055"/>
              <a:ext cx="54920" cy="52235"/>
            </a:xfrm>
            <a:custGeom>
              <a:avLst/>
              <a:gdLst>
                <a:gd name="connsiteX0" fmla="*/ 27460 w 54920"/>
                <a:gd name="connsiteY0" fmla="*/ 0 h 52235"/>
                <a:gd name="connsiteX1" fmla="*/ 33945 w 54920"/>
                <a:gd name="connsiteY1" fmla="*/ 19962 h 52235"/>
                <a:gd name="connsiteX2" fmla="*/ 54920 w 54920"/>
                <a:gd name="connsiteY2" fmla="*/ 19962 h 52235"/>
                <a:gd name="connsiteX3" fmla="*/ 37948 w 54920"/>
                <a:gd name="connsiteY3" fmla="*/ 32324 h 52235"/>
                <a:gd name="connsiteX4" fmla="*/ 44433 w 54920"/>
                <a:gd name="connsiteY4" fmla="*/ 52235 h 52235"/>
                <a:gd name="connsiteX5" fmla="*/ 27460 w 54920"/>
                <a:gd name="connsiteY5" fmla="*/ 39924 h 52235"/>
                <a:gd name="connsiteX6" fmla="*/ 10487 w 54920"/>
                <a:gd name="connsiteY6" fmla="*/ 52235 h 52235"/>
                <a:gd name="connsiteX7" fmla="*/ 16973 w 54920"/>
                <a:gd name="connsiteY7" fmla="*/ 32324 h 52235"/>
                <a:gd name="connsiteX8" fmla="*/ 0 w 54920"/>
                <a:gd name="connsiteY8" fmla="*/ 19962 h 52235"/>
                <a:gd name="connsiteX9" fmla="*/ 20975 w 54920"/>
                <a:gd name="connsiteY9" fmla="*/ 19962 h 52235"/>
                <a:gd name="connsiteX10" fmla="*/ 27460 w 5492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5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324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7" y="52235"/>
                  </a:lnTo>
                  <a:lnTo>
                    <a:pt x="16973" y="32324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EE96E690-4E1F-459F-8728-EF3129BE89FE}"/>
                </a:ext>
              </a:extLst>
            </p:cNvPr>
            <p:cNvSpPr/>
            <p:nvPr/>
          </p:nvSpPr>
          <p:spPr>
            <a:xfrm>
              <a:off x="19933841" y="10649055"/>
              <a:ext cx="54970" cy="52235"/>
            </a:xfrm>
            <a:custGeom>
              <a:avLst/>
              <a:gdLst>
                <a:gd name="connsiteX0" fmla="*/ 27511 w 54970"/>
                <a:gd name="connsiteY0" fmla="*/ 0 h 52235"/>
                <a:gd name="connsiteX1" fmla="*/ 33996 w 54970"/>
                <a:gd name="connsiteY1" fmla="*/ 19962 h 52235"/>
                <a:gd name="connsiteX2" fmla="*/ 54971 w 54970"/>
                <a:gd name="connsiteY2" fmla="*/ 19962 h 52235"/>
                <a:gd name="connsiteX3" fmla="*/ 37998 w 54970"/>
                <a:gd name="connsiteY3" fmla="*/ 32324 h 52235"/>
                <a:gd name="connsiteX4" fmla="*/ 44483 w 54970"/>
                <a:gd name="connsiteY4" fmla="*/ 52235 h 52235"/>
                <a:gd name="connsiteX5" fmla="*/ 27511 w 54970"/>
                <a:gd name="connsiteY5" fmla="*/ 39924 h 52235"/>
                <a:gd name="connsiteX6" fmla="*/ 10538 w 54970"/>
                <a:gd name="connsiteY6" fmla="*/ 52235 h 52235"/>
                <a:gd name="connsiteX7" fmla="*/ 16973 w 54970"/>
                <a:gd name="connsiteY7" fmla="*/ 32324 h 52235"/>
                <a:gd name="connsiteX8" fmla="*/ 0 w 54970"/>
                <a:gd name="connsiteY8" fmla="*/ 19962 h 52235"/>
                <a:gd name="connsiteX9" fmla="*/ 21026 w 54970"/>
                <a:gd name="connsiteY9" fmla="*/ 19962 h 52235"/>
                <a:gd name="connsiteX10" fmla="*/ 27511 w 5497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70" h="52235">
                  <a:moveTo>
                    <a:pt x="27511" y="0"/>
                  </a:moveTo>
                  <a:lnTo>
                    <a:pt x="33996" y="19962"/>
                  </a:lnTo>
                  <a:lnTo>
                    <a:pt x="54971" y="19962"/>
                  </a:lnTo>
                  <a:lnTo>
                    <a:pt x="37998" y="32324"/>
                  </a:lnTo>
                  <a:lnTo>
                    <a:pt x="44483" y="52235"/>
                  </a:lnTo>
                  <a:lnTo>
                    <a:pt x="27511" y="39924"/>
                  </a:lnTo>
                  <a:lnTo>
                    <a:pt x="10538" y="52235"/>
                  </a:lnTo>
                  <a:lnTo>
                    <a:pt x="16973" y="32324"/>
                  </a:lnTo>
                  <a:lnTo>
                    <a:pt x="0" y="19962"/>
                  </a:lnTo>
                  <a:lnTo>
                    <a:pt x="21026" y="19962"/>
                  </a:lnTo>
                  <a:lnTo>
                    <a:pt x="27511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BA0911B5-4D45-4F1B-BB68-6467CC6742CF}"/>
                </a:ext>
              </a:extLst>
            </p:cNvPr>
            <p:cNvSpPr/>
            <p:nvPr/>
          </p:nvSpPr>
          <p:spPr>
            <a:xfrm>
              <a:off x="19817110" y="10649055"/>
              <a:ext cx="54920" cy="52235"/>
            </a:xfrm>
            <a:custGeom>
              <a:avLst/>
              <a:gdLst>
                <a:gd name="connsiteX0" fmla="*/ 27460 w 54920"/>
                <a:gd name="connsiteY0" fmla="*/ 0 h 52235"/>
                <a:gd name="connsiteX1" fmla="*/ 33945 w 54920"/>
                <a:gd name="connsiteY1" fmla="*/ 19962 h 52235"/>
                <a:gd name="connsiteX2" fmla="*/ 54920 w 54920"/>
                <a:gd name="connsiteY2" fmla="*/ 19962 h 52235"/>
                <a:gd name="connsiteX3" fmla="*/ 37948 w 54920"/>
                <a:gd name="connsiteY3" fmla="*/ 32324 h 52235"/>
                <a:gd name="connsiteX4" fmla="*/ 44433 w 54920"/>
                <a:gd name="connsiteY4" fmla="*/ 52235 h 52235"/>
                <a:gd name="connsiteX5" fmla="*/ 27460 w 54920"/>
                <a:gd name="connsiteY5" fmla="*/ 39924 h 52235"/>
                <a:gd name="connsiteX6" fmla="*/ 10488 w 54920"/>
                <a:gd name="connsiteY6" fmla="*/ 52235 h 52235"/>
                <a:gd name="connsiteX7" fmla="*/ 16973 w 54920"/>
                <a:gd name="connsiteY7" fmla="*/ 32324 h 52235"/>
                <a:gd name="connsiteX8" fmla="*/ 0 w 54920"/>
                <a:gd name="connsiteY8" fmla="*/ 19962 h 52235"/>
                <a:gd name="connsiteX9" fmla="*/ 20975 w 54920"/>
                <a:gd name="connsiteY9" fmla="*/ 19962 h 52235"/>
                <a:gd name="connsiteX10" fmla="*/ 27460 w 5492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5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324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8" y="52235"/>
                  </a:lnTo>
                  <a:lnTo>
                    <a:pt x="16973" y="32324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8ACD5175-A888-4F4F-88B4-B672DCE8919B}"/>
                </a:ext>
              </a:extLst>
            </p:cNvPr>
            <p:cNvSpPr/>
            <p:nvPr/>
          </p:nvSpPr>
          <p:spPr>
            <a:xfrm>
              <a:off x="19700379" y="10748357"/>
              <a:ext cx="54920" cy="52235"/>
            </a:xfrm>
            <a:custGeom>
              <a:avLst/>
              <a:gdLst>
                <a:gd name="connsiteX0" fmla="*/ 27460 w 54920"/>
                <a:gd name="connsiteY0" fmla="*/ 0 h 52235"/>
                <a:gd name="connsiteX1" fmla="*/ 33945 w 54920"/>
                <a:gd name="connsiteY1" fmla="*/ 19962 h 52235"/>
                <a:gd name="connsiteX2" fmla="*/ 54920 w 54920"/>
                <a:gd name="connsiteY2" fmla="*/ 19962 h 52235"/>
                <a:gd name="connsiteX3" fmla="*/ 37948 w 54920"/>
                <a:gd name="connsiteY3" fmla="*/ 32273 h 52235"/>
                <a:gd name="connsiteX4" fmla="*/ 44433 w 54920"/>
                <a:gd name="connsiteY4" fmla="*/ 52235 h 52235"/>
                <a:gd name="connsiteX5" fmla="*/ 27460 w 54920"/>
                <a:gd name="connsiteY5" fmla="*/ 39924 h 52235"/>
                <a:gd name="connsiteX6" fmla="*/ 10488 w 54920"/>
                <a:gd name="connsiteY6" fmla="*/ 52235 h 52235"/>
                <a:gd name="connsiteX7" fmla="*/ 16973 w 54920"/>
                <a:gd name="connsiteY7" fmla="*/ 32273 h 52235"/>
                <a:gd name="connsiteX8" fmla="*/ 0 w 54920"/>
                <a:gd name="connsiteY8" fmla="*/ 19962 h 52235"/>
                <a:gd name="connsiteX9" fmla="*/ 20975 w 54920"/>
                <a:gd name="connsiteY9" fmla="*/ 19962 h 52235"/>
                <a:gd name="connsiteX10" fmla="*/ 27460 w 5492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5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8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53E883D8-6B1B-4342-AF19-62C877ABCEDF}"/>
                </a:ext>
              </a:extLst>
            </p:cNvPr>
            <p:cNvSpPr/>
            <p:nvPr/>
          </p:nvSpPr>
          <p:spPr>
            <a:xfrm>
              <a:off x="20284135" y="10748357"/>
              <a:ext cx="54920" cy="52235"/>
            </a:xfrm>
            <a:custGeom>
              <a:avLst/>
              <a:gdLst>
                <a:gd name="connsiteX0" fmla="*/ 27460 w 54920"/>
                <a:gd name="connsiteY0" fmla="*/ 0 h 52235"/>
                <a:gd name="connsiteX1" fmla="*/ 33945 w 54920"/>
                <a:gd name="connsiteY1" fmla="*/ 19962 h 52235"/>
                <a:gd name="connsiteX2" fmla="*/ 54920 w 54920"/>
                <a:gd name="connsiteY2" fmla="*/ 19962 h 52235"/>
                <a:gd name="connsiteX3" fmla="*/ 37948 w 54920"/>
                <a:gd name="connsiteY3" fmla="*/ 32273 h 52235"/>
                <a:gd name="connsiteX4" fmla="*/ 44433 w 54920"/>
                <a:gd name="connsiteY4" fmla="*/ 52235 h 52235"/>
                <a:gd name="connsiteX5" fmla="*/ 27460 w 54920"/>
                <a:gd name="connsiteY5" fmla="*/ 39924 h 52235"/>
                <a:gd name="connsiteX6" fmla="*/ 10487 w 54920"/>
                <a:gd name="connsiteY6" fmla="*/ 52235 h 52235"/>
                <a:gd name="connsiteX7" fmla="*/ 16973 w 54920"/>
                <a:gd name="connsiteY7" fmla="*/ 32273 h 52235"/>
                <a:gd name="connsiteX8" fmla="*/ 0 w 54920"/>
                <a:gd name="connsiteY8" fmla="*/ 19962 h 52235"/>
                <a:gd name="connsiteX9" fmla="*/ 20975 w 54920"/>
                <a:gd name="connsiteY9" fmla="*/ 19962 h 52235"/>
                <a:gd name="connsiteX10" fmla="*/ 27460 w 5492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5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7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D7352833-0789-4FBA-A128-4CB96AF5575A}"/>
                </a:ext>
              </a:extLst>
            </p:cNvPr>
            <p:cNvSpPr/>
            <p:nvPr/>
          </p:nvSpPr>
          <p:spPr>
            <a:xfrm>
              <a:off x="20167353" y="10748357"/>
              <a:ext cx="54970" cy="52235"/>
            </a:xfrm>
            <a:custGeom>
              <a:avLst/>
              <a:gdLst>
                <a:gd name="connsiteX0" fmla="*/ 27511 w 54970"/>
                <a:gd name="connsiteY0" fmla="*/ 0 h 52235"/>
                <a:gd name="connsiteX1" fmla="*/ 33945 w 54970"/>
                <a:gd name="connsiteY1" fmla="*/ 19962 h 52235"/>
                <a:gd name="connsiteX2" fmla="*/ 54971 w 54970"/>
                <a:gd name="connsiteY2" fmla="*/ 19962 h 52235"/>
                <a:gd name="connsiteX3" fmla="*/ 37998 w 54970"/>
                <a:gd name="connsiteY3" fmla="*/ 32273 h 52235"/>
                <a:gd name="connsiteX4" fmla="*/ 44483 w 54970"/>
                <a:gd name="connsiteY4" fmla="*/ 52235 h 52235"/>
                <a:gd name="connsiteX5" fmla="*/ 27511 w 54970"/>
                <a:gd name="connsiteY5" fmla="*/ 39924 h 52235"/>
                <a:gd name="connsiteX6" fmla="*/ 10488 w 54970"/>
                <a:gd name="connsiteY6" fmla="*/ 52235 h 52235"/>
                <a:gd name="connsiteX7" fmla="*/ 16973 w 54970"/>
                <a:gd name="connsiteY7" fmla="*/ 32273 h 52235"/>
                <a:gd name="connsiteX8" fmla="*/ 0 w 54970"/>
                <a:gd name="connsiteY8" fmla="*/ 19962 h 52235"/>
                <a:gd name="connsiteX9" fmla="*/ 20975 w 54970"/>
                <a:gd name="connsiteY9" fmla="*/ 19962 h 52235"/>
                <a:gd name="connsiteX10" fmla="*/ 27511 w 5497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70" h="52235">
                  <a:moveTo>
                    <a:pt x="27511" y="0"/>
                  </a:moveTo>
                  <a:lnTo>
                    <a:pt x="33945" y="19962"/>
                  </a:lnTo>
                  <a:lnTo>
                    <a:pt x="54971" y="19962"/>
                  </a:lnTo>
                  <a:lnTo>
                    <a:pt x="37998" y="32273"/>
                  </a:lnTo>
                  <a:lnTo>
                    <a:pt x="44483" y="52235"/>
                  </a:lnTo>
                  <a:lnTo>
                    <a:pt x="27511" y="39924"/>
                  </a:lnTo>
                  <a:lnTo>
                    <a:pt x="10488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511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7B2D1F82-686D-4BA3-8FC4-83D8E54E91F2}"/>
                </a:ext>
              </a:extLst>
            </p:cNvPr>
            <p:cNvSpPr/>
            <p:nvPr/>
          </p:nvSpPr>
          <p:spPr>
            <a:xfrm>
              <a:off x="20050623" y="10748357"/>
              <a:ext cx="54920" cy="52235"/>
            </a:xfrm>
            <a:custGeom>
              <a:avLst/>
              <a:gdLst>
                <a:gd name="connsiteX0" fmla="*/ 27460 w 54920"/>
                <a:gd name="connsiteY0" fmla="*/ 0 h 52235"/>
                <a:gd name="connsiteX1" fmla="*/ 33945 w 54920"/>
                <a:gd name="connsiteY1" fmla="*/ 19962 h 52235"/>
                <a:gd name="connsiteX2" fmla="*/ 54920 w 54920"/>
                <a:gd name="connsiteY2" fmla="*/ 19962 h 52235"/>
                <a:gd name="connsiteX3" fmla="*/ 37948 w 54920"/>
                <a:gd name="connsiteY3" fmla="*/ 32273 h 52235"/>
                <a:gd name="connsiteX4" fmla="*/ 44433 w 54920"/>
                <a:gd name="connsiteY4" fmla="*/ 52235 h 52235"/>
                <a:gd name="connsiteX5" fmla="*/ 27460 w 54920"/>
                <a:gd name="connsiteY5" fmla="*/ 39924 h 52235"/>
                <a:gd name="connsiteX6" fmla="*/ 10487 w 54920"/>
                <a:gd name="connsiteY6" fmla="*/ 52235 h 52235"/>
                <a:gd name="connsiteX7" fmla="*/ 16973 w 54920"/>
                <a:gd name="connsiteY7" fmla="*/ 32273 h 52235"/>
                <a:gd name="connsiteX8" fmla="*/ 0 w 54920"/>
                <a:gd name="connsiteY8" fmla="*/ 19962 h 52235"/>
                <a:gd name="connsiteX9" fmla="*/ 20975 w 54920"/>
                <a:gd name="connsiteY9" fmla="*/ 19962 h 52235"/>
                <a:gd name="connsiteX10" fmla="*/ 27460 w 5492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5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7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839CDA22-5FE2-47AB-970A-432D1D832E2E}"/>
                </a:ext>
              </a:extLst>
            </p:cNvPr>
            <p:cNvSpPr/>
            <p:nvPr/>
          </p:nvSpPr>
          <p:spPr>
            <a:xfrm>
              <a:off x="19933841" y="10748357"/>
              <a:ext cx="54970" cy="52235"/>
            </a:xfrm>
            <a:custGeom>
              <a:avLst/>
              <a:gdLst>
                <a:gd name="connsiteX0" fmla="*/ 27511 w 54970"/>
                <a:gd name="connsiteY0" fmla="*/ 0 h 52235"/>
                <a:gd name="connsiteX1" fmla="*/ 33996 w 54970"/>
                <a:gd name="connsiteY1" fmla="*/ 19962 h 52235"/>
                <a:gd name="connsiteX2" fmla="*/ 54971 w 54970"/>
                <a:gd name="connsiteY2" fmla="*/ 19962 h 52235"/>
                <a:gd name="connsiteX3" fmla="*/ 37998 w 54970"/>
                <a:gd name="connsiteY3" fmla="*/ 32273 h 52235"/>
                <a:gd name="connsiteX4" fmla="*/ 44483 w 54970"/>
                <a:gd name="connsiteY4" fmla="*/ 52235 h 52235"/>
                <a:gd name="connsiteX5" fmla="*/ 27511 w 54970"/>
                <a:gd name="connsiteY5" fmla="*/ 39924 h 52235"/>
                <a:gd name="connsiteX6" fmla="*/ 10538 w 54970"/>
                <a:gd name="connsiteY6" fmla="*/ 52235 h 52235"/>
                <a:gd name="connsiteX7" fmla="*/ 16973 w 54970"/>
                <a:gd name="connsiteY7" fmla="*/ 32273 h 52235"/>
                <a:gd name="connsiteX8" fmla="*/ 0 w 54970"/>
                <a:gd name="connsiteY8" fmla="*/ 19962 h 52235"/>
                <a:gd name="connsiteX9" fmla="*/ 21026 w 54970"/>
                <a:gd name="connsiteY9" fmla="*/ 19962 h 52235"/>
                <a:gd name="connsiteX10" fmla="*/ 27511 w 5497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70" h="52235">
                  <a:moveTo>
                    <a:pt x="27511" y="0"/>
                  </a:moveTo>
                  <a:lnTo>
                    <a:pt x="33996" y="19962"/>
                  </a:lnTo>
                  <a:lnTo>
                    <a:pt x="54971" y="19962"/>
                  </a:lnTo>
                  <a:lnTo>
                    <a:pt x="37998" y="32273"/>
                  </a:lnTo>
                  <a:lnTo>
                    <a:pt x="44483" y="52235"/>
                  </a:lnTo>
                  <a:lnTo>
                    <a:pt x="27511" y="39924"/>
                  </a:lnTo>
                  <a:lnTo>
                    <a:pt x="10538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1026" y="19962"/>
                  </a:lnTo>
                  <a:lnTo>
                    <a:pt x="27511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2D22A980-469D-4CED-8AA2-999DBE5940F9}"/>
                </a:ext>
              </a:extLst>
            </p:cNvPr>
            <p:cNvSpPr/>
            <p:nvPr/>
          </p:nvSpPr>
          <p:spPr>
            <a:xfrm>
              <a:off x="19817110" y="10748357"/>
              <a:ext cx="54920" cy="52235"/>
            </a:xfrm>
            <a:custGeom>
              <a:avLst/>
              <a:gdLst>
                <a:gd name="connsiteX0" fmla="*/ 27460 w 54920"/>
                <a:gd name="connsiteY0" fmla="*/ 0 h 52235"/>
                <a:gd name="connsiteX1" fmla="*/ 33945 w 54920"/>
                <a:gd name="connsiteY1" fmla="*/ 19962 h 52235"/>
                <a:gd name="connsiteX2" fmla="*/ 54920 w 54920"/>
                <a:gd name="connsiteY2" fmla="*/ 19962 h 52235"/>
                <a:gd name="connsiteX3" fmla="*/ 37948 w 54920"/>
                <a:gd name="connsiteY3" fmla="*/ 32273 h 52235"/>
                <a:gd name="connsiteX4" fmla="*/ 44433 w 54920"/>
                <a:gd name="connsiteY4" fmla="*/ 52235 h 52235"/>
                <a:gd name="connsiteX5" fmla="*/ 27460 w 54920"/>
                <a:gd name="connsiteY5" fmla="*/ 39924 h 52235"/>
                <a:gd name="connsiteX6" fmla="*/ 10488 w 54920"/>
                <a:gd name="connsiteY6" fmla="*/ 52235 h 52235"/>
                <a:gd name="connsiteX7" fmla="*/ 16973 w 54920"/>
                <a:gd name="connsiteY7" fmla="*/ 32273 h 52235"/>
                <a:gd name="connsiteX8" fmla="*/ 0 w 54920"/>
                <a:gd name="connsiteY8" fmla="*/ 19962 h 52235"/>
                <a:gd name="connsiteX9" fmla="*/ 20975 w 54920"/>
                <a:gd name="connsiteY9" fmla="*/ 19962 h 52235"/>
                <a:gd name="connsiteX10" fmla="*/ 27460 w 5492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5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8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BB9B6DE7-6A9F-4E88-9479-20D3EE623003}"/>
                </a:ext>
              </a:extLst>
            </p:cNvPr>
            <p:cNvSpPr/>
            <p:nvPr/>
          </p:nvSpPr>
          <p:spPr>
            <a:xfrm>
              <a:off x="19700379" y="10847659"/>
              <a:ext cx="54920" cy="52234"/>
            </a:xfrm>
            <a:custGeom>
              <a:avLst/>
              <a:gdLst>
                <a:gd name="connsiteX0" fmla="*/ 27460 w 54920"/>
                <a:gd name="connsiteY0" fmla="*/ 0 h 52234"/>
                <a:gd name="connsiteX1" fmla="*/ 33945 w 54920"/>
                <a:gd name="connsiteY1" fmla="*/ 19911 h 52234"/>
                <a:gd name="connsiteX2" fmla="*/ 54920 w 54920"/>
                <a:gd name="connsiteY2" fmla="*/ 19911 h 52234"/>
                <a:gd name="connsiteX3" fmla="*/ 37948 w 54920"/>
                <a:gd name="connsiteY3" fmla="*/ 32273 h 52234"/>
                <a:gd name="connsiteX4" fmla="*/ 44433 w 54920"/>
                <a:gd name="connsiteY4" fmla="*/ 52235 h 52234"/>
                <a:gd name="connsiteX5" fmla="*/ 27460 w 54920"/>
                <a:gd name="connsiteY5" fmla="*/ 39873 h 52234"/>
                <a:gd name="connsiteX6" fmla="*/ 10488 w 54920"/>
                <a:gd name="connsiteY6" fmla="*/ 52235 h 52234"/>
                <a:gd name="connsiteX7" fmla="*/ 16973 w 54920"/>
                <a:gd name="connsiteY7" fmla="*/ 32273 h 52234"/>
                <a:gd name="connsiteX8" fmla="*/ 0 w 54920"/>
                <a:gd name="connsiteY8" fmla="*/ 19911 h 52234"/>
                <a:gd name="connsiteX9" fmla="*/ 20975 w 54920"/>
                <a:gd name="connsiteY9" fmla="*/ 19911 h 52234"/>
                <a:gd name="connsiteX10" fmla="*/ 27460 w 54920"/>
                <a:gd name="connsiteY10" fmla="*/ 0 h 52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4">
                  <a:moveTo>
                    <a:pt x="27460" y="0"/>
                  </a:moveTo>
                  <a:lnTo>
                    <a:pt x="33945" y="19911"/>
                  </a:lnTo>
                  <a:lnTo>
                    <a:pt x="54920" y="19911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873"/>
                  </a:lnTo>
                  <a:lnTo>
                    <a:pt x="10488" y="52235"/>
                  </a:lnTo>
                  <a:lnTo>
                    <a:pt x="16973" y="32273"/>
                  </a:lnTo>
                  <a:lnTo>
                    <a:pt x="0" y="19911"/>
                  </a:lnTo>
                  <a:lnTo>
                    <a:pt x="20975" y="19911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DECC007A-B423-4DCD-B4D1-00653A866DA5}"/>
                </a:ext>
              </a:extLst>
            </p:cNvPr>
            <p:cNvSpPr/>
            <p:nvPr/>
          </p:nvSpPr>
          <p:spPr>
            <a:xfrm>
              <a:off x="20284135" y="10847659"/>
              <a:ext cx="54920" cy="52234"/>
            </a:xfrm>
            <a:custGeom>
              <a:avLst/>
              <a:gdLst>
                <a:gd name="connsiteX0" fmla="*/ 27460 w 54920"/>
                <a:gd name="connsiteY0" fmla="*/ 0 h 52234"/>
                <a:gd name="connsiteX1" fmla="*/ 33945 w 54920"/>
                <a:gd name="connsiteY1" fmla="*/ 19911 h 52234"/>
                <a:gd name="connsiteX2" fmla="*/ 54920 w 54920"/>
                <a:gd name="connsiteY2" fmla="*/ 19911 h 52234"/>
                <a:gd name="connsiteX3" fmla="*/ 37948 w 54920"/>
                <a:gd name="connsiteY3" fmla="*/ 32273 h 52234"/>
                <a:gd name="connsiteX4" fmla="*/ 44433 w 54920"/>
                <a:gd name="connsiteY4" fmla="*/ 52235 h 52234"/>
                <a:gd name="connsiteX5" fmla="*/ 27460 w 54920"/>
                <a:gd name="connsiteY5" fmla="*/ 39873 h 52234"/>
                <a:gd name="connsiteX6" fmla="*/ 10487 w 54920"/>
                <a:gd name="connsiteY6" fmla="*/ 52235 h 52234"/>
                <a:gd name="connsiteX7" fmla="*/ 16973 w 54920"/>
                <a:gd name="connsiteY7" fmla="*/ 32273 h 52234"/>
                <a:gd name="connsiteX8" fmla="*/ 0 w 54920"/>
                <a:gd name="connsiteY8" fmla="*/ 19911 h 52234"/>
                <a:gd name="connsiteX9" fmla="*/ 20975 w 54920"/>
                <a:gd name="connsiteY9" fmla="*/ 19911 h 52234"/>
                <a:gd name="connsiteX10" fmla="*/ 27460 w 54920"/>
                <a:gd name="connsiteY10" fmla="*/ 0 h 52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4">
                  <a:moveTo>
                    <a:pt x="27460" y="0"/>
                  </a:moveTo>
                  <a:lnTo>
                    <a:pt x="33945" y="19911"/>
                  </a:lnTo>
                  <a:lnTo>
                    <a:pt x="54920" y="19911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873"/>
                  </a:lnTo>
                  <a:lnTo>
                    <a:pt x="10487" y="52235"/>
                  </a:lnTo>
                  <a:lnTo>
                    <a:pt x="16973" y="32273"/>
                  </a:lnTo>
                  <a:lnTo>
                    <a:pt x="0" y="19911"/>
                  </a:lnTo>
                  <a:lnTo>
                    <a:pt x="20975" y="19911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CB57ED0B-70A6-44A6-BD7D-EEB1D626F72C}"/>
                </a:ext>
              </a:extLst>
            </p:cNvPr>
            <p:cNvSpPr/>
            <p:nvPr/>
          </p:nvSpPr>
          <p:spPr>
            <a:xfrm>
              <a:off x="20167353" y="10847659"/>
              <a:ext cx="54970" cy="52234"/>
            </a:xfrm>
            <a:custGeom>
              <a:avLst/>
              <a:gdLst>
                <a:gd name="connsiteX0" fmla="*/ 27511 w 54970"/>
                <a:gd name="connsiteY0" fmla="*/ 0 h 52234"/>
                <a:gd name="connsiteX1" fmla="*/ 33945 w 54970"/>
                <a:gd name="connsiteY1" fmla="*/ 19911 h 52234"/>
                <a:gd name="connsiteX2" fmla="*/ 54971 w 54970"/>
                <a:gd name="connsiteY2" fmla="*/ 19911 h 52234"/>
                <a:gd name="connsiteX3" fmla="*/ 37998 w 54970"/>
                <a:gd name="connsiteY3" fmla="*/ 32273 h 52234"/>
                <a:gd name="connsiteX4" fmla="*/ 44483 w 54970"/>
                <a:gd name="connsiteY4" fmla="*/ 52235 h 52234"/>
                <a:gd name="connsiteX5" fmla="*/ 27511 w 54970"/>
                <a:gd name="connsiteY5" fmla="*/ 39873 h 52234"/>
                <a:gd name="connsiteX6" fmla="*/ 10488 w 54970"/>
                <a:gd name="connsiteY6" fmla="*/ 52235 h 52234"/>
                <a:gd name="connsiteX7" fmla="*/ 16973 w 54970"/>
                <a:gd name="connsiteY7" fmla="*/ 32273 h 52234"/>
                <a:gd name="connsiteX8" fmla="*/ 0 w 54970"/>
                <a:gd name="connsiteY8" fmla="*/ 19911 h 52234"/>
                <a:gd name="connsiteX9" fmla="*/ 20975 w 54970"/>
                <a:gd name="connsiteY9" fmla="*/ 19911 h 52234"/>
                <a:gd name="connsiteX10" fmla="*/ 27511 w 54970"/>
                <a:gd name="connsiteY10" fmla="*/ 0 h 52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70" h="52234">
                  <a:moveTo>
                    <a:pt x="27511" y="0"/>
                  </a:moveTo>
                  <a:lnTo>
                    <a:pt x="33945" y="19911"/>
                  </a:lnTo>
                  <a:lnTo>
                    <a:pt x="54971" y="19911"/>
                  </a:lnTo>
                  <a:lnTo>
                    <a:pt x="37998" y="32273"/>
                  </a:lnTo>
                  <a:lnTo>
                    <a:pt x="44483" y="52235"/>
                  </a:lnTo>
                  <a:lnTo>
                    <a:pt x="27511" y="39873"/>
                  </a:lnTo>
                  <a:lnTo>
                    <a:pt x="10488" y="52235"/>
                  </a:lnTo>
                  <a:lnTo>
                    <a:pt x="16973" y="32273"/>
                  </a:lnTo>
                  <a:lnTo>
                    <a:pt x="0" y="19911"/>
                  </a:lnTo>
                  <a:lnTo>
                    <a:pt x="20975" y="19911"/>
                  </a:lnTo>
                  <a:lnTo>
                    <a:pt x="27511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6A7C20BD-B884-485B-BF1B-9A4B6585AADF}"/>
                </a:ext>
              </a:extLst>
            </p:cNvPr>
            <p:cNvSpPr/>
            <p:nvPr/>
          </p:nvSpPr>
          <p:spPr>
            <a:xfrm>
              <a:off x="20050623" y="10847659"/>
              <a:ext cx="54920" cy="52234"/>
            </a:xfrm>
            <a:custGeom>
              <a:avLst/>
              <a:gdLst>
                <a:gd name="connsiteX0" fmla="*/ 27460 w 54920"/>
                <a:gd name="connsiteY0" fmla="*/ 0 h 52234"/>
                <a:gd name="connsiteX1" fmla="*/ 33945 w 54920"/>
                <a:gd name="connsiteY1" fmla="*/ 19911 h 52234"/>
                <a:gd name="connsiteX2" fmla="*/ 54920 w 54920"/>
                <a:gd name="connsiteY2" fmla="*/ 19911 h 52234"/>
                <a:gd name="connsiteX3" fmla="*/ 37948 w 54920"/>
                <a:gd name="connsiteY3" fmla="*/ 32273 h 52234"/>
                <a:gd name="connsiteX4" fmla="*/ 44433 w 54920"/>
                <a:gd name="connsiteY4" fmla="*/ 52235 h 52234"/>
                <a:gd name="connsiteX5" fmla="*/ 27460 w 54920"/>
                <a:gd name="connsiteY5" fmla="*/ 39873 h 52234"/>
                <a:gd name="connsiteX6" fmla="*/ 10487 w 54920"/>
                <a:gd name="connsiteY6" fmla="*/ 52235 h 52234"/>
                <a:gd name="connsiteX7" fmla="*/ 16973 w 54920"/>
                <a:gd name="connsiteY7" fmla="*/ 32273 h 52234"/>
                <a:gd name="connsiteX8" fmla="*/ 0 w 54920"/>
                <a:gd name="connsiteY8" fmla="*/ 19911 h 52234"/>
                <a:gd name="connsiteX9" fmla="*/ 20975 w 54920"/>
                <a:gd name="connsiteY9" fmla="*/ 19911 h 52234"/>
                <a:gd name="connsiteX10" fmla="*/ 27460 w 54920"/>
                <a:gd name="connsiteY10" fmla="*/ 0 h 52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4">
                  <a:moveTo>
                    <a:pt x="27460" y="0"/>
                  </a:moveTo>
                  <a:lnTo>
                    <a:pt x="33945" y="19911"/>
                  </a:lnTo>
                  <a:lnTo>
                    <a:pt x="54920" y="19911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873"/>
                  </a:lnTo>
                  <a:lnTo>
                    <a:pt x="10487" y="52235"/>
                  </a:lnTo>
                  <a:lnTo>
                    <a:pt x="16973" y="32273"/>
                  </a:lnTo>
                  <a:lnTo>
                    <a:pt x="0" y="19911"/>
                  </a:lnTo>
                  <a:lnTo>
                    <a:pt x="20975" y="19911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D50FCDF4-E1CD-4F35-92E6-3294D82BBF5D}"/>
                </a:ext>
              </a:extLst>
            </p:cNvPr>
            <p:cNvSpPr/>
            <p:nvPr/>
          </p:nvSpPr>
          <p:spPr>
            <a:xfrm>
              <a:off x="19933841" y="10847659"/>
              <a:ext cx="54970" cy="52234"/>
            </a:xfrm>
            <a:custGeom>
              <a:avLst/>
              <a:gdLst>
                <a:gd name="connsiteX0" fmla="*/ 27511 w 54970"/>
                <a:gd name="connsiteY0" fmla="*/ 0 h 52234"/>
                <a:gd name="connsiteX1" fmla="*/ 33996 w 54970"/>
                <a:gd name="connsiteY1" fmla="*/ 19911 h 52234"/>
                <a:gd name="connsiteX2" fmla="*/ 54971 w 54970"/>
                <a:gd name="connsiteY2" fmla="*/ 19911 h 52234"/>
                <a:gd name="connsiteX3" fmla="*/ 37998 w 54970"/>
                <a:gd name="connsiteY3" fmla="*/ 32273 h 52234"/>
                <a:gd name="connsiteX4" fmla="*/ 44483 w 54970"/>
                <a:gd name="connsiteY4" fmla="*/ 52235 h 52234"/>
                <a:gd name="connsiteX5" fmla="*/ 27511 w 54970"/>
                <a:gd name="connsiteY5" fmla="*/ 39873 h 52234"/>
                <a:gd name="connsiteX6" fmla="*/ 10538 w 54970"/>
                <a:gd name="connsiteY6" fmla="*/ 52235 h 52234"/>
                <a:gd name="connsiteX7" fmla="*/ 16973 w 54970"/>
                <a:gd name="connsiteY7" fmla="*/ 32273 h 52234"/>
                <a:gd name="connsiteX8" fmla="*/ 0 w 54970"/>
                <a:gd name="connsiteY8" fmla="*/ 19911 h 52234"/>
                <a:gd name="connsiteX9" fmla="*/ 21026 w 54970"/>
                <a:gd name="connsiteY9" fmla="*/ 19911 h 52234"/>
                <a:gd name="connsiteX10" fmla="*/ 27511 w 54970"/>
                <a:gd name="connsiteY10" fmla="*/ 0 h 52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70" h="52234">
                  <a:moveTo>
                    <a:pt x="27511" y="0"/>
                  </a:moveTo>
                  <a:lnTo>
                    <a:pt x="33996" y="19911"/>
                  </a:lnTo>
                  <a:lnTo>
                    <a:pt x="54971" y="19911"/>
                  </a:lnTo>
                  <a:lnTo>
                    <a:pt x="37998" y="32273"/>
                  </a:lnTo>
                  <a:lnTo>
                    <a:pt x="44483" y="52235"/>
                  </a:lnTo>
                  <a:lnTo>
                    <a:pt x="27511" y="39873"/>
                  </a:lnTo>
                  <a:lnTo>
                    <a:pt x="10538" y="52235"/>
                  </a:lnTo>
                  <a:lnTo>
                    <a:pt x="16973" y="32273"/>
                  </a:lnTo>
                  <a:lnTo>
                    <a:pt x="0" y="19911"/>
                  </a:lnTo>
                  <a:lnTo>
                    <a:pt x="21026" y="19911"/>
                  </a:lnTo>
                  <a:lnTo>
                    <a:pt x="27511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D3B6C22D-67F6-495A-9CA4-6ED7E9FB2606}"/>
                </a:ext>
              </a:extLst>
            </p:cNvPr>
            <p:cNvSpPr/>
            <p:nvPr/>
          </p:nvSpPr>
          <p:spPr>
            <a:xfrm>
              <a:off x="19817110" y="10847659"/>
              <a:ext cx="54920" cy="52234"/>
            </a:xfrm>
            <a:custGeom>
              <a:avLst/>
              <a:gdLst>
                <a:gd name="connsiteX0" fmla="*/ 27460 w 54920"/>
                <a:gd name="connsiteY0" fmla="*/ 0 h 52234"/>
                <a:gd name="connsiteX1" fmla="*/ 33945 w 54920"/>
                <a:gd name="connsiteY1" fmla="*/ 19911 h 52234"/>
                <a:gd name="connsiteX2" fmla="*/ 54920 w 54920"/>
                <a:gd name="connsiteY2" fmla="*/ 19911 h 52234"/>
                <a:gd name="connsiteX3" fmla="*/ 37948 w 54920"/>
                <a:gd name="connsiteY3" fmla="*/ 32273 h 52234"/>
                <a:gd name="connsiteX4" fmla="*/ 44433 w 54920"/>
                <a:gd name="connsiteY4" fmla="*/ 52235 h 52234"/>
                <a:gd name="connsiteX5" fmla="*/ 27460 w 54920"/>
                <a:gd name="connsiteY5" fmla="*/ 39873 h 52234"/>
                <a:gd name="connsiteX6" fmla="*/ 10488 w 54920"/>
                <a:gd name="connsiteY6" fmla="*/ 52235 h 52234"/>
                <a:gd name="connsiteX7" fmla="*/ 16973 w 54920"/>
                <a:gd name="connsiteY7" fmla="*/ 32273 h 52234"/>
                <a:gd name="connsiteX8" fmla="*/ 0 w 54920"/>
                <a:gd name="connsiteY8" fmla="*/ 19911 h 52234"/>
                <a:gd name="connsiteX9" fmla="*/ 20975 w 54920"/>
                <a:gd name="connsiteY9" fmla="*/ 19911 h 52234"/>
                <a:gd name="connsiteX10" fmla="*/ 27460 w 54920"/>
                <a:gd name="connsiteY10" fmla="*/ 0 h 52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4">
                  <a:moveTo>
                    <a:pt x="27460" y="0"/>
                  </a:moveTo>
                  <a:lnTo>
                    <a:pt x="33945" y="19911"/>
                  </a:lnTo>
                  <a:lnTo>
                    <a:pt x="54920" y="19911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873"/>
                  </a:lnTo>
                  <a:lnTo>
                    <a:pt x="10488" y="52235"/>
                  </a:lnTo>
                  <a:lnTo>
                    <a:pt x="16973" y="32273"/>
                  </a:lnTo>
                  <a:lnTo>
                    <a:pt x="0" y="19911"/>
                  </a:lnTo>
                  <a:lnTo>
                    <a:pt x="20975" y="19911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0C9E70D6-9A6B-4094-96CC-2547A3C08D69}"/>
                </a:ext>
              </a:extLst>
            </p:cNvPr>
            <p:cNvSpPr/>
            <p:nvPr/>
          </p:nvSpPr>
          <p:spPr>
            <a:xfrm>
              <a:off x="20225769" y="10798008"/>
              <a:ext cx="54920" cy="52234"/>
            </a:xfrm>
            <a:custGeom>
              <a:avLst/>
              <a:gdLst>
                <a:gd name="connsiteX0" fmla="*/ 27460 w 54920"/>
                <a:gd name="connsiteY0" fmla="*/ 0 h 52234"/>
                <a:gd name="connsiteX1" fmla="*/ 33945 w 54920"/>
                <a:gd name="connsiteY1" fmla="*/ 19962 h 52234"/>
                <a:gd name="connsiteX2" fmla="*/ 54920 w 54920"/>
                <a:gd name="connsiteY2" fmla="*/ 19962 h 52234"/>
                <a:gd name="connsiteX3" fmla="*/ 37948 w 54920"/>
                <a:gd name="connsiteY3" fmla="*/ 32273 h 52234"/>
                <a:gd name="connsiteX4" fmla="*/ 44433 w 54920"/>
                <a:gd name="connsiteY4" fmla="*/ 52235 h 52234"/>
                <a:gd name="connsiteX5" fmla="*/ 27460 w 54920"/>
                <a:gd name="connsiteY5" fmla="*/ 39924 h 52234"/>
                <a:gd name="connsiteX6" fmla="*/ 10488 w 54920"/>
                <a:gd name="connsiteY6" fmla="*/ 52235 h 52234"/>
                <a:gd name="connsiteX7" fmla="*/ 16973 w 54920"/>
                <a:gd name="connsiteY7" fmla="*/ 32273 h 52234"/>
                <a:gd name="connsiteX8" fmla="*/ 0 w 54920"/>
                <a:gd name="connsiteY8" fmla="*/ 19962 h 52234"/>
                <a:gd name="connsiteX9" fmla="*/ 20975 w 54920"/>
                <a:gd name="connsiteY9" fmla="*/ 19962 h 52234"/>
                <a:gd name="connsiteX10" fmla="*/ 27460 w 54920"/>
                <a:gd name="connsiteY10" fmla="*/ 0 h 52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4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8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67D515F7-4267-43EB-9F8A-3717B7B538D7}"/>
                </a:ext>
              </a:extLst>
            </p:cNvPr>
            <p:cNvSpPr/>
            <p:nvPr/>
          </p:nvSpPr>
          <p:spPr>
            <a:xfrm>
              <a:off x="20108988" y="10798008"/>
              <a:ext cx="54920" cy="52234"/>
            </a:xfrm>
            <a:custGeom>
              <a:avLst/>
              <a:gdLst>
                <a:gd name="connsiteX0" fmla="*/ 27460 w 54920"/>
                <a:gd name="connsiteY0" fmla="*/ 0 h 52234"/>
                <a:gd name="connsiteX1" fmla="*/ 33945 w 54920"/>
                <a:gd name="connsiteY1" fmla="*/ 19962 h 52234"/>
                <a:gd name="connsiteX2" fmla="*/ 54920 w 54920"/>
                <a:gd name="connsiteY2" fmla="*/ 19962 h 52234"/>
                <a:gd name="connsiteX3" fmla="*/ 37948 w 54920"/>
                <a:gd name="connsiteY3" fmla="*/ 32273 h 52234"/>
                <a:gd name="connsiteX4" fmla="*/ 44433 w 54920"/>
                <a:gd name="connsiteY4" fmla="*/ 52235 h 52234"/>
                <a:gd name="connsiteX5" fmla="*/ 27460 w 54920"/>
                <a:gd name="connsiteY5" fmla="*/ 39924 h 52234"/>
                <a:gd name="connsiteX6" fmla="*/ 10488 w 54920"/>
                <a:gd name="connsiteY6" fmla="*/ 52235 h 52234"/>
                <a:gd name="connsiteX7" fmla="*/ 16973 w 54920"/>
                <a:gd name="connsiteY7" fmla="*/ 32273 h 52234"/>
                <a:gd name="connsiteX8" fmla="*/ 0 w 54920"/>
                <a:gd name="connsiteY8" fmla="*/ 19962 h 52234"/>
                <a:gd name="connsiteX9" fmla="*/ 20975 w 54920"/>
                <a:gd name="connsiteY9" fmla="*/ 19962 h 52234"/>
                <a:gd name="connsiteX10" fmla="*/ 27460 w 54920"/>
                <a:gd name="connsiteY10" fmla="*/ 0 h 52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4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8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17132414-DC19-4CA9-B5E5-A018C0B9FA45}"/>
                </a:ext>
              </a:extLst>
            </p:cNvPr>
            <p:cNvSpPr/>
            <p:nvPr/>
          </p:nvSpPr>
          <p:spPr>
            <a:xfrm>
              <a:off x="19992257" y="10798008"/>
              <a:ext cx="54920" cy="52234"/>
            </a:xfrm>
            <a:custGeom>
              <a:avLst/>
              <a:gdLst>
                <a:gd name="connsiteX0" fmla="*/ 27460 w 54920"/>
                <a:gd name="connsiteY0" fmla="*/ 0 h 52234"/>
                <a:gd name="connsiteX1" fmla="*/ 33945 w 54920"/>
                <a:gd name="connsiteY1" fmla="*/ 19962 h 52234"/>
                <a:gd name="connsiteX2" fmla="*/ 54920 w 54920"/>
                <a:gd name="connsiteY2" fmla="*/ 19962 h 52234"/>
                <a:gd name="connsiteX3" fmla="*/ 37948 w 54920"/>
                <a:gd name="connsiteY3" fmla="*/ 32273 h 52234"/>
                <a:gd name="connsiteX4" fmla="*/ 44433 w 54920"/>
                <a:gd name="connsiteY4" fmla="*/ 52235 h 52234"/>
                <a:gd name="connsiteX5" fmla="*/ 27460 w 54920"/>
                <a:gd name="connsiteY5" fmla="*/ 39924 h 52234"/>
                <a:gd name="connsiteX6" fmla="*/ 10488 w 54920"/>
                <a:gd name="connsiteY6" fmla="*/ 52235 h 52234"/>
                <a:gd name="connsiteX7" fmla="*/ 16973 w 54920"/>
                <a:gd name="connsiteY7" fmla="*/ 32273 h 52234"/>
                <a:gd name="connsiteX8" fmla="*/ 0 w 54920"/>
                <a:gd name="connsiteY8" fmla="*/ 19962 h 52234"/>
                <a:gd name="connsiteX9" fmla="*/ 20975 w 54920"/>
                <a:gd name="connsiteY9" fmla="*/ 19962 h 52234"/>
                <a:gd name="connsiteX10" fmla="*/ 27460 w 54920"/>
                <a:gd name="connsiteY10" fmla="*/ 0 h 52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4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8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0281588A-4B35-4D26-89B2-E376B2EC5DCD}"/>
                </a:ext>
              </a:extLst>
            </p:cNvPr>
            <p:cNvSpPr/>
            <p:nvPr/>
          </p:nvSpPr>
          <p:spPr>
            <a:xfrm>
              <a:off x="19875476" y="10798008"/>
              <a:ext cx="54970" cy="52234"/>
            </a:xfrm>
            <a:custGeom>
              <a:avLst/>
              <a:gdLst>
                <a:gd name="connsiteX0" fmla="*/ 27460 w 54970"/>
                <a:gd name="connsiteY0" fmla="*/ 0 h 52234"/>
                <a:gd name="connsiteX1" fmla="*/ 33945 w 54970"/>
                <a:gd name="connsiteY1" fmla="*/ 19962 h 52234"/>
                <a:gd name="connsiteX2" fmla="*/ 54971 w 54970"/>
                <a:gd name="connsiteY2" fmla="*/ 19962 h 52234"/>
                <a:gd name="connsiteX3" fmla="*/ 37948 w 54970"/>
                <a:gd name="connsiteY3" fmla="*/ 32273 h 52234"/>
                <a:gd name="connsiteX4" fmla="*/ 44433 w 54970"/>
                <a:gd name="connsiteY4" fmla="*/ 52235 h 52234"/>
                <a:gd name="connsiteX5" fmla="*/ 27460 w 54970"/>
                <a:gd name="connsiteY5" fmla="*/ 39924 h 52234"/>
                <a:gd name="connsiteX6" fmla="*/ 10488 w 54970"/>
                <a:gd name="connsiteY6" fmla="*/ 52235 h 52234"/>
                <a:gd name="connsiteX7" fmla="*/ 16973 w 54970"/>
                <a:gd name="connsiteY7" fmla="*/ 32273 h 52234"/>
                <a:gd name="connsiteX8" fmla="*/ 0 w 54970"/>
                <a:gd name="connsiteY8" fmla="*/ 19962 h 52234"/>
                <a:gd name="connsiteX9" fmla="*/ 20975 w 54970"/>
                <a:gd name="connsiteY9" fmla="*/ 19962 h 52234"/>
                <a:gd name="connsiteX10" fmla="*/ 27460 w 54970"/>
                <a:gd name="connsiteY10" fmla="*/ 0 h 52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70" h="52234">
                  <a:moveTo>
                    <a:pt x="27460" y="0"/>
                  </a:moveTo>
                  <a:lnTo>
                    <a:pt x="33945" y="19962"/>
                  </a:lnTo>
                  <a:lnTo>
                    <a:pt x="54971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8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BD630C58-D63F-45B0-A62A-5F6F1CB77B36}"/>
                </a:ext>
              </a:extLst>
            </p:cNvPr>
            <p:cNvSpPr/>
            <p:nvPr/>
          </p:nvSpPr>
          <p:spPr>
            <a:xfrm>
              <a:off x="19758745" y="10798008"/>
              <a:ext cx="54920" cy="52234"/>
            </a:xfrm>
            <a:custGeom>
              <a:avLst/>
              <a:gdLst>
                <a:gd name="connsiteX0" fmla="*/ 27460 w 54920"/>
                <a:gd name="connsiteY0" fmla="*/ 0 h 52234"/>
                <a:gd name="connsiteX1" fmla="*/ 33945 w 54920"/>
                <a:gd name="connsiteY1" fmla="*/ 19962 h 52234"/>
                <a:gd name="connsiteX2" fmla="*/ 54920 w 54920"/>
                <a:gd name="connsiteY2" fmla="*/ 19962 h 52234"/>
                <a:gd name="connsiteX3" fmla="*/ 37948 w 54920"/>
                <a:gd name="connsiteY3" fmla="*/ 32273 h 52234"/>
                <a:gd name="connsiteX4" fmla="*/ 44433 w 54920"/>
                <a:gd name="connsiteY4" fmla="*/ 52235 h 52234"/>
                <a:gd name="connsiteX5" fmla="*/ 27460 w 54920"/>
                <a:gd name="connsiteY5" fmla="*/ 39924 h 52234"/>
                <a:gd name="connsiteX6" fmla="*/ 10487 w 54920"/>
                <a:gd name="connsiteY6" fmla="*/ 52235 h 52234"/>
                <a:gd name="connsiteX7" fmla="*/ 16973 w 54920"/>
                <a:gd name="connsiteY7" fmla="*/ 32273 h 52234"/>
                <a:gd name="connsiteX8" fmla="*/ 0 w 54920"/>
                <a:gd name="connsiteY8" fmla="*/ 19962 h 52234"/>
                <a:gd name="connsiteX9" fmla="*/ 20975 w 54920"/>
                <a:gd name="connsiteY9" fmla="*/ 19962 h 52234"/>
                <a:gd name="connsiteX10" fmla="*/ 27460 w 54920"/>
                <a:gd name="connsiteY10" fmla="*/ 0 h 52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4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7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52013A24-96C5-4A37-BB6B-E3D63C3B468C}"/>
                </a:ext>
              </a:extLst>
            </p:cNvPr>
            <p:cNvSpPr/>
            <p:nvPr/>
          </p:nvSpPr>
          <p:spPr>
            <a:xfrm>
              <a:off x="20225769" y="10698706"/>
              <a:ext cx="54920" cy="52234"/>
            </a:xfrm>
            <a:custGeom>
              <a:avLst/>
              <a:gdLst>
                <a:gd name="connsiteX0" fmla="*/ 27460 w 54920"/>
                <a:gd name="connsiteY0" fmla="*/ 0 h 52234"/>
                <a:gd name="connsiteX1" fmla="*/ 33945 w 54920"/>
                <a:gd name="connsiteY1" fmla="*/ 19962 h 52234"/>
                <a:gd name="connsiteX2" fmla="*/ 54920 w 54920"/>
                <a:gd name="connsiteY2" fmla="*/ 19962 h 52234"/>
                <a:gd name="connsiteX3" fmla="*/ 37948 w 54920"/>
                <a:gd name="connsiteY3" fmla="*/ 32273 h 52234"/>
                <a:gd name="connsiteX4" fmla="*/ 44433 w 54920"/>
                <a:gd name="connsiteY4" fmla="*/ 52235 h 52234"/>
                <a:gd name="connsiteX5" fmla="*/ 27460 w 54920"/>
                <a:gd name="connsiteY5" fmla="*/ 39924 h 52234"/>
                <a:gd name="connsiteX6" fmla="*/ 10488 w 54920"/>
                <a:gd name="connsiteY6" fmla="*/ 52235 h 52234"/>
                <a:gd name="connsiteX7" fmla="*/ 16973 w 54920"/>
                <a:gd name="connsiteY7" fmla="*/ 32273 h 52234"/>
                <a:gd name="connsiteX8" fmla="*/ 0 w 54920"/>
                <a:gd name="connsiteY8" fmla="*/ 19962 h 52234"/>
                <a:gd name="connsiteX9" fmla="*/ 20975 w 54920"/>
                <a:gd name="connsiteY9" fmla="*/ 19962 h 52234"/>
                <a:gd name="connsiteX10" fmla="*/ 27460 w 54920"/>
                <a:gd name="connsiteY10" fmla="*/ 0 h 52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4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8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5E8567-0837-485F-A484-15D1782717E4}"/>
                </a:ext>
              </a:extLst>
            </p:cNvPr>
            <p:cNvSpPr/>
            <p:nvPr/>
          </p:nvSpPr>
          <p:spPr>
            <a:xfrm>
              <a:off x="20108988" y="10698706"/>
              <a:ext cx="54920" cy="52234"/>
            </a:xfrm>
            <a:custGeom>
              <a:avLst/>
              <a:gdLst>
                <a:gd name="connsiteX0" fmla="*/ 27460 w 54920"/>
                <a:gd name="connsiteY0" fmla="*/ 0 h 52234"/>
                <a:gd name="connsiteX1" fmla="*/ 33945 w 54920"/>
                <a:gd name="connsiteY1" fmla="*/ 19962 h 52234"/>
                <a:gd name="connsiteX2" fmla="*/ 54920 w 54920"/>
                <a:gd name="connsiteY2" fmla="*/ 19962 h 52234"/>
                <a:gd name="connsiteX3" fmla="*/ 37948 w 54920"/>
                <a:gd name="connsiteY3" fmla="*/ 32273 h 52234"/>
                <a:gd name="connsiteX4" fmla="*/ 44433 w 54920"/>
                <a:gd name="connsiteY4" fmla="*/ 52235 h 52234"/>
                <a:gd name="connsiteX5" fmla="*/ 27460 w 54920"/>
                <a:gd name="connsiteY5" fmla="*/ 39924 h 52234"/>
                <a:gd name="connsiteX6" fmla="*/ 10488 w 54920"/>
                <a:gd name="connsiteY6" fmla="*/ 52235 h 52234"/>
                <a:gd name="connsiteX7" fmla="*/ 16973 w 54920"/>
                <a:gd name="connsiteY7" fmla="*/ 32273 h 52234"/>
                <a:gd name="connsiteX8" fmla="*/ 0 w 54920"/>
                <a:gd name="connsiteY8" fmla="*/ 19962 h 52234"/>
                <a:gd name="connsiteX9" fmla="*/ 20975 w 54920"/>
                <a:gd name="connsiteY9" fmla="*/ 19962 h 52234"/>
                <a:gd name="connsiteX10" fmla="*/ 27460 w 54920"/>
                <a:gd name="connsiteY10" fmla="*/ 0 h 52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4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8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B90C9B3D-8610-4923-ACC4-564E87F30858}"/>
                </a:ext>
              </a:extLst>
            </p:cNvPr>
            <p:cNvSpPr/>
            <p:nvPr/>
          </p:nvSpPr>
          <p:spPr>
            <a:xfrm>
              <a:off x="19992257" y="10698706"/>
              <a:ext cx="54920" cy="52234"/>
            </a:xfrm>
            <a:custGeom>
              <a:avLst/>
              <a:gdLst>
                <a:gd name="connsiteX0" fmla="*/ 27460 w 54920"/>
                <a:gd name="connsiteY0" fmla="*/ 0 h 52234"/>
                <a:gd name="connsiteX1" fmla="*/ 33945 w 54920"/>
                <a:gd name="connsiteY1" fmla="*/ 19962 h 52234"/>
                <a:gd name="connsiteX2" fmla="*/ 54920 w 54920"/>
                <a:gd name="connsiteY2" fmla="*/ 19962 h 52234"/>
                <a:gd name="connsiteX3" fmla="*/ 37948 w 54920"/>
                <a:gd name="connsiteY3" fmla="*/ 32273 h 52234"/>
                <a:gd name="connsiteX4" fmla="*/ 44433 w 54920"/>
                <a:gd name="connsiteY4" fmla="*/ 52235 h 52234"/>
                <a:gd name="connsiteX5" fmla="*/ 27460 w 54920"/>
                <a:gd name="connsiteY5" fmla="*/ 39924 h 52234"/>
                <a:gd name="connsiteX6" fmla="*/ 10488 w 54920"/>
                <a:gd name="connsiteY6" fmla="*/ 52235 h 52234"/>
                <a:gd name="connsiteX7" fmla="*/ 16973 w 54920"/>
                <a:gd name="connsiteY7" fmla="*/ 32273 h 52234"/>
                <a:gd name="connsiteX8" fmla="*/ 0 w 54920"/>
                <a:gd name="connsiteY8" fmla="*/ 19962 h 52234"/>
                <a:gd name="connsiteX9" fmla="*/ 20975 w 54920"/>
                <a:gd name="connsiteY9" fmla="*/ 19962 h 52234"/>
                <a:gd name="connsiteX10" fmla="*/ 27460 w 54920"/>
                <a:gd name="connsiteY10" fmla="*/ 0 h 52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4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8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E6C7F98A-A297-4430-96AB-87B8F5C2E746}"/>
                </a:ext>
              </a:extLst>
            </p:cNvPr>
            <p:cNvSpPr/>
            <p:nvPr/>
          </p:nvSpPr>
          <p:spPr>
            <a:xfrm>
              <a:off x="19875476" y="10698706"/>
              <a:ext cx="54970" cy="52234"/>
            </a:xfrm>
            <a:custGeom>
              <a:avLst/>
              <a:gdLst>
                <a:gd name="connsiteX0" fmla="*/ 27460 w 54970"/>
                <a:gd name="connsiteY0" fmla="*/ 0 h 52234"/>
                <a:gd name="connsiteX1" fmla="*/ 33945 w 54970"/>
                <a:gd name="connsiteY1" fmla="*/ 19962 h 52234"/>
                <a:gd name="connsiteX2" fmla="*/ 54971 w 54970"/>
                <a:gd name="connsiteY2" fmla="*/ 19962 h 52234"/>
                <a:gd name="connsiteX3" fmla="*/ 37948 w 54970"/>
                <a:gd name="connsiteY3" fmla="*/ 32273 h 52234"/>
                <a:gd name="connsiteX4" fmla="*/ 44433 w 54970"/>
                <a:gd name="connsiteY4" fmla="*/ 52235 h 52234"/>
                <a:gd name="connsiteX5" fmla="*/ 27460 w 54970"/>
                <a:gd name="connsiteY5" fmla="*/ 39924 h 52234"/>
                <a:gd name="connsiteX6" fmla="*/ 10488 w 54970"/>
                <a:gd name="connsiteY6" fmla="*/ 52235 h 52234"/>
                <a:gd name="connsiteX7" fmla="*/ 16973 w 54970"/>
                <a:gd name="connsiteY7" fmla="*/ 32273 h 52234"/>
                <a:gd name="connsiteX8" fmla="*/ 0 w 54970"/>
                <a:gd name="connsiteY8" fmla="*/ 19962 h 52234"/>
                <a:gd name="connsiteX9" fmla="*/ 20975 w 54970"/>
                <a:gd name="connsiteY9" fmla="*/ 19962 h 52234"/>
                <a:gd name="connsiteX10" fmla="*/ 27460 w 54970"/>
                <a:gd name="connsiteY10" fmla="*/ 0 h 52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70" h="52234">
                  <a:moveTo>
                    <a:pt x="27460" y="0"/>
                  </a:moveTo>
                  <a:lnTo>
                    <a:pt x="33945" y="19962"/>
                  </a:lnTo>
                  <a:lnTo>
                    <a:pt x="54971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8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D9B15BB8-73FD-4C31-9881-0BE1C95A4ADE}"/>
                </a:ext>
              </a:extLst>
            </p:cNvPr>
            <p:cNvSpPr/>
            <p:nvPr/>
          </p:nvSpPr>
          <p:spPr>
            <a:xfrm>
              <a:off x="19758745" y="10698706"/>
              <a:ext cx="54920" cy="52234"/>
            </a:xfrm>
            <a:custGeom>
              <a:avLst/>
              <a:gdLst>
                <a:gd name="connsiteX0" fmla="*/ 27460 w 54920"/>
                <a:gd name="connsiteY0" fmla="*/ 0 h 52234"/>
                <a:gd name="connsiteX1" fmla="*/ 33945 w 54920"/>
                <a:gd name="connsiteY1" fmla="*/ 19962 h 52234"/>
                <a:gd name="connsiteX2" fmla="*/ 54920 w 54920"/>
                <a:gd name="connsiteY2" fmla="*/ 19962 h 52234"/>
                <a:gd name="connsiteX3" fmla="*/ 37948 w 54920"/>
                <a:gd name="connsiteY3" fmla="*/ 32273 h 52234"/>
                <a:gd name="connsiteX4" fmla="*/ 44433 w 54920"/>
                <a:gd name="connsiteY4" fmla="*/ 52235 h 52234"/>
                <a:gd name="connsiteX5" fmla="*/ 27460 w 54920"/>
                <a:gd name="connsiteY5" fmla="*/ 39924 h 52234"/>
                <a:gd name="connsiteX6" fmla="*/ 10487 w 54920"/>
                <a:gd name="connsiteY6" fmla="*/ 52235 h 52234"/>
                <a:gd name="connsiteX7" fmla="*/ 16973 w 54920"/>
                <a:gd name="connsiteY7" fmla="*/ 32273 h 52234"/>
                <a:gd name="connsiteX8" fmla="*/ 0 w 54920"/>
                <a:gd name="connsiteY8" fmla="*/ 19962 h 52234"/>
                <a:gd name="connsiteX9" fmla="*/ 20975 w 54920"/>
                <a:gd name="connsiteY9" fmla="*/ 19962 h 52234"/>
                <a:gd name="connsiteX10" fmla="*/ 27460 w 54920"/>
                <a:gd name="connsiteY10" fmla="*/ 0 h 52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4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7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93FFB2C9-9441-44D1-BBE7-7137473743B2}"/>
                </a:ext>
              </a:extLst>
            </p:cNvPr>
            <p:cNvSpPr/>
            <p:nvPr/>
          </p:nvSpPr>
          <p:spPr>
            <a:xfrm>
              <a:off x="20225769" y="10599404"/>
              <a:ext cx="54920" cy="52285"/>
            </a:xfrm>
            <a:custGeom>
              <a:avLst/>
              <a:gdLst>
                <a:gd name="connsiteX0" fmla="*/ 27460 w 54920"/>
                <a:gd name="connsiteY0" fmla="*/ 0 h 52285"/>
                <a:gd name="connsiteX1" fmla="*/ 33945 w 54920"/>
                <a:gd name="connsiteY1" fmla="*/ 19962 h 52285"/>
                <a:gd name="connsiteX2" fmla="*/ 54920 w 54920"/>
                <a:gd name="connsiteY2" fmla="*/ 19962 h 52285"/>
                <a:gd name="connsiteX3" fmla="*/ 37948 w 54920"/>
                <a:gd name="connsiteY3" fmla="*/ 32324 h 52285"/>
                <a:gd name="connsiteX4" fmla="*/ 44433 w 54920"/>
                <a:gd name="connsiteY4" fmla="*/ 52286 h 52285"/>
                <a:gd name="connsiteX5" fmla="*/ 27460 w 54920"/>
                <a:gd name="connsiteY5" fmla="*/ 39924 h 52285"/>
                <a:gd name="connsiteX6" fmla="*/ 10488 w 54920"/>
                <a:gd name="connsiteY6" fmla="*/ 52286 h 52285"/>
                <a:gd name="connsiteX7" fmla="*/ 16973 w 54920"/>
                <a:gd name="connsiteY7" fmla="*/ 32324 h 52285"/>
                <a:gd name="connsiteX8" fmla="*/ 0 w 54920"/>
                <a:gd name="connsiteY8" fmla="*/ 19962 h 52285"/>
                <a:gd name="connsiteX9" fmla="*/ 20975 w 54920"/>
                <a:gd name="connsiteY9" fmla="*/ 19962 h 52285"/>
                <a:gd name="connsiteX10" fmla="*/ 27460 w 54920"/>
                <a:gd name="connsiteY10" fmla="*/ 0 h 52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85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324"/>
                  </a:lnTo>
                  <a:lnTo>
                    <a:pt x="44433" y="52286"/>
                  </a:lnTo>
                  <a:lnTo>
                    <a:pt x="27460" y="39924"/>
                  </a:lnTo>
                  <a:lnTo>
                    <a:pt x="10488" y="52286"/>
                  </a:lnTo>
                  <a:lnTo>
                    <a:pt x="16973" y="32324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C0BD6D9C-A296-4593-867D-58290F03CD84}"/>
                </a:ext>
              </a:extLst>
            </p:cNvPr>
            <p:cNvSpPr/>
            <p:nvPr/>
          </p:nvSpPr>
          <p:spPr>
            <a:xfrm>
              <a:off x="20108988" y="10599404"/>
              <a:ext cx="54920" cy="52285"/>
            </a:xfrm>
            <a:custGeom>
              <a:avLst/>
              <a:gdLst>
                <a:gd name="connsiteX0" fmla="*/ 27460 w 54920"/>
                <a:gd name="connsiteY0" fmla="*/ 0 h 52285"/>
                <a:gd name="connsiteX1" fmla="*/ 33945 w 54920"/>
                <a:gd name="connsiteY1" fmla="*/ 19962 h 52285"/>
                <a:gd name="connsiteX2" fmla="*/ 54920 w 54920"/>
                <a:gd name="connsiteY2" fmla="*/ 19962 h 52285"/>
                <a:gd name="connsiteX3" fmla="*/ 37948 w 54920"/>
                <a:gd name="connsiteY3" fmla="*/ 32324 h 52285"/>
                <a:gd name="connsiteX4" fmla="*/ 44433 w 54920"/>
                <a:gd name="connsiteY4" fmla="*/ 52286 h 52285"/>
                <a:gd name="connsiteX5" fmla="*/ 27460 w 54920"/>
                <a:gd name="connsiteY5" fmla="*/ 39924 h 52285"/>
                <a:gd name="connsiteX6" fmla="*/ 10488 w 54920"/>
                <a:gd name="connsiteY6" fmla="*/ 52286 h 52285"/>
                <a:gd name="connsiteX7" fmla="*/ 16973 w 54920"/>
                <a:gd name="connsiteY7" fmla="*/ 32324 h 52285"/>
                <a:gd name="connsiteX8" fmla="*/ 0 w 54920"/>
                <a:gd name="connsiteY8" fmla="*/ 19962 h 52285"/>
                <a:gd name="connsiteX9" fmla="*/ 20975 w 54920"/>
                <a:gd name="connsiteY9" fmla="*/ 19962 h 52285"/>
                <a:gd name="connsiteX10" fmla="*/ 27460 w 54920"/>
                <a:gd name="connsiteY10" fmla="*/ 0 h 52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85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324"/>
                  </a:lnTo>
                  <a:lnTo>
                    <a:pt x="44433" y="52286"/>
                  </a:lnTo>
                  <a:lnTo>
                    <a:pt x="27460" y="39924"/>
                  </a:lnTo>
                  <a:lnTo>
                    <a:pt x="10488" y="52286"/>
                  </a:lnTo>
                  <a:lnTo>
                    <a:pt x="16973" y="32324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A0E6BDD0-67C1-4768-B427-1ACED8CFF89F}"/>
                </a:ext>
              </a:extLst>
            </p:cNvPr>
            <p:cNvSpPr/>
            <p:nvPr/>
          </p:nvSpPr>
          <p:spPr>
            <a:xfrm>
              <a:off x="19992257" y="10599404"/>
              <a:ext cx="54920" cy="52285"/>
            </a:xfrm>
            <a:custGeom>
              <a:avLst/>
              <a:gdLst>
                <a:gd name="connsiteX0" fmla="*/ 27460 w 54920"/>
                <a:gd name="connsiteY0" fmla="*/ 0 h 52285"/>
                <a:gd name="connsiteX1" fmla="*/ 33945 w 54920"/>
                <a:gd name="connsiteY1" fmla="*/ 19962 h 52285"/>
                <a:gd name="connsiteX2" fmla="*/ 54920 w 54920"/>
                <a:gd name="connsiteY2" fmla="*/ 19962 h 52285"/>
                <a:gd name="connsiteX3" fmla="*/ 37948 w 54920"/>
                <a:gd name="connsiteY3" fmla="*/ 32324 h 52285"/>
                <a:gd name="connsiteX4" fmla="*/ 44433 w 54920"/>
                <a:gd name="connsiteY4" fmla="*/ 52286 h 52285"/>
                <a:gd name="connsiteX5" fmla="*/ 27460 w 54920"/>
                <a:gd name="connsiteY5" fmla="*/ 39924 h 52285"/>
                <a:gd name="connsiteX6" fmla="*/ 10488 w 54920"/>
                <a:gd name="connsiteY6" fmla="*/ 52286 h 52285"/>
                <a:gd name="connsiteX7" fmla="*/ 16973 w 54920"/>
                <a:gd name="connsiteY7" fmla="*/ 32324 h 52285"/>
                <a:gd name="connsiteX8" fmla="*/ 0 w 54920"/>
                <a:gd name="connsiteY8" fmla="*/ 19962 h 52285"/>
                <a:gd name="connsiteX9" fmla="*/ 20975 w 54920"/>
                <a:gd name="connsiteY9" fmla="*/ 19962 h 52285"/>
                <a:gd name="connsiteX10" fmla="*/ 27460 w 54920"/>
                <a:gd name="connsiteY10" fmla="*/ 0 h 52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85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324"/>
                  </a:lnTo>
                  <a:lnTo>
                    <a:pt x="44433" y="52286"/>
                  </a:lnTo>
                  <a:lnTo>
                    <a:pt x="27460" y="39924"/>
                  </a:lnTo>
                  <a:lnTo>
                    <a:pt x="10488" y="52286"/>
                  </a:lnTo>
                  <a:lnTo>
                    <a:pt x="16973" y="32324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E795FBF4-6FAC-451B-BAC4-0218F0819F19}"/>
                </a:ext>
              </a:extLst>
            </p:cNvPr>
            <p:cNvSpPr/>
            <p:nvPr/>
          </p:nvSpPr>
          <p:spPr>
            <a:xfrm>
              <a:off x="19875476" y="10599404"/>
              <a:ext cx="54970" cy="52285"/>
            </a:xfrm>
            <a:custGeom>
              <a:avLst/>
              <a:gdLst>
                <a:gd name="connsiteX0" fmla="*/ 27460 w 54970"/>
                <a:gd name="connsiteY0" fmla="*/ 0 h 52285"/>
                <a:gd name="connsiteX1" fmla="*/ 33945 w 54970"/>
                <a:gd name="connsiteY1" fmla="*/ 19962 h 52285"/>
                <a:gd name="connsiteX2" fmla="*/ 54971 w 54970"/>
                <a:gd name="connsiteY2" fmla="*/ 19962 h 52285"/>
                <a:gd name="connsiteX3" fmla="*/ 37948 w 54970"/>
                <a:gd name="connsiteY3" fmla="*/ 32324 h 52285"/>
                <a:gd name="connsiteX4" fmla="*/ 44433 w 54970"/>
                <a:gd name="connsiteY4" fmla="*/ 52286 h 52285"/>
                <a:gd name="connsiteX5" fmla="*/ 27460 w 54970"/>
                <a:gd name="connsiteY5" fmla="*/ 39924 h 52285"/>
                <a:gd name="connsiteX6" fmla="*/ 10488 w 54970"/>
                <a:gd name="connsiteY6" fmla="*/ 52286 h 52285"/>
                <a:gd name="connsiteX7" fmla="*/ 16973 w 54970"/>
                <a:gd name="connsiteY7" fmla="*/ 32324 h 52285"/>
                <a:gd name="connsiteX8" fmla="*/ 0 w 54970"/>
                <a:gd name="connsiteY8" fmla="*/ 19962 h 52285"/>
                <a:gd name="connsiteX9" fmla="*/ 20975 w 54970"/>
                <a:gd name="connsiteY9" fmla="*/ 19962 h 52285"/>
                <a:gd name="connsiteX10" fmla="*/ 27460 w 54970"/>
                <a:gd name="connsiteY10" fmla="*/ 0 h 52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70" h="52285">
                  <a:moveTo>
                    <a:pt x="27460" y="0"/>
                  </a:moveTo>
                  <a:lnTo>
                    <a:pt x="33945" y="19962"/>
                  </a:lnTo>
                  <a:lnTo>
                    <a:pt x="54971" y="19962"/>
                  </a:lnTo>
                  <a:lnTo>
                    <a:pt x="37948" y="32324"/>
                  </a:lnTo>
                  <a:lnTo>
                    <a:pt x="44433" y="52286"/>
                  </a:lnTo>
                  <a:lnTo>
                    <a:pt x="27460" y="39924"/>
                  </a:lnTo>
                  <a:lnTo>
                    <a:pt x="10488" y="52286"/>
                  </a:lnTo>
                  <a:lnTo>
                    <a:pt x="16973" y="32324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05B5B3FE-378C-4A09-BE3C-3DEC4C96C8EC}"/>
                </a:ext>
              </a:extLst>
            </p:cNvPr>
            <p:cNvSpPr/>
            <p:nvPr/>
          </p:nvSpPr>
          <p:spPr>
            <a:xfrm>
              <a:off x="19758745" y="10599404"/>
              <a:ext cx="54920" cy="52285"/>
            </a:xfrm>
            <a:custGeom>
              <a:avLst/>
              <a:gdLst>
                <a:gd name="connsiteX0" fmla="*/ 27460 w 54920"/>
                <a:gd name="connsiteY0" fmla="*/ 0 h 52285"/>
                <a:gd name="connsiteX1" fmla="*/ 33945 w 54920"/>
                <a:gd name="connsiteY1" fmla="*/ 19962 h 52285"/>
                <a:gd name="connsiteX2" fmla="*/ 54920 w 54920"/>
                <a:gd name="connsiteY2" fmla="*/ 19962 h 52285"/>
                <a:gd name="connsiteX3" fmla="*/ 37948 w 54920"/>
                <a:gd name="connsiteY3" fmla="*/ 32324 h 52285"/>
                <a:gd name="connsiteX4" fmla="*/ 44433 w 54920"/>
                <a:gd name="connsiteY4" fmla="*/ 52286 h 52285"/>
                <a:gd name="connsiteX5" fmla="*/ 27460 w 54920"/>
                <a:gd name="connsiteY5" fmla="*/ 39924 h 52285"/>
                <a:gd name="connsiteX6" fmla="*/ 10487 w 54920"/>
                <a:gd name="connsiteY6" fmla="*/ 52286 h 52285"/>
                <a:gd name="connsiteX7" fmla="*/ 16973 w 54920"/>
                <a:gd name="connsiteY7" fmla="*/ 32324 h 52285"/>
                <a:gd name="connsiteX8" fmla="*/ 0 w 54920"/>
                <a:gd name="connsiteY8" fmla="*/ 19962 h 52285"/>
                <a:gd name="connsiteX9" fmla="*/ 20975 w 54920"/>
                <a:gd name="connsiteY9" fmla="*/ 19962 h 52285"/>
                <a:gd name="connsiteX10" fmla="*/ 27460 w 54920"/>
                <a:gd name="connsiteY10" fmla="*/ 0 h 52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85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324"/>
                  </a:lnTo>
                  <a:lnTo>
                    <a:pt x="44433" y="52286"/>
                  </a:lnTo>
                  <a:lnTo>
                    <a:pt x="27460" y="39924"/>
                  </a:lnTo>
                  <a:lnTo>
                    <a:pt x="10487" y="52286"/>
                  </a:lnTo>
                  <a:lnTo>
                    <a:pt x="16973" y="32324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5F91AAE1-C15E-49C5-8456-868CA18FAF09}"/>
                </a:ext>
              </a:extLst>
            </p:cNvPr>
            <p:cNvSpPr/>
            <p:nvPr/>
          </p:nvSpPr>
          <p:spPr>
            <a:xfrm>
              <a:off x="20225769" y="10500152"/>
              <a:ext cx="54920" cy="52235"/>
            </a:xfrm>
            <a:custGeom>
              <a:avLst/>
              <a:gdLst>
                <a:gd name="connsiteX0" fmla="*/ 27460 w 54920"/>
                <a:gd name="connsiteY0" fmla="*/ 0 h 52235"/>
                <a:gd name="connsiteX1" fmla="*/ 33945 w 54920"/>
                <a:gd name="connsiteY1" fmla="*/ 19962 h 52235"/>
                <a:gd name="connsiteX2" fmla="*/ 54920 w 54920"/>
                <a:gd name="connsiteY2" fmla="*/ 19962 h 52235"/>
                <a:gd name="connsiteX3" fmla="*/ 37948 w 54920"/>
                <a:gd name="connsiteY3" fmla="*/ 32273 h 52235"/>
                <a:gd name="connsiteX4" fmla="*/ 44433 w 54920"/>
                <a:gd name="connsiteY4" fmla="*/ 52235 h 52235"/>
                <a:gd name="connsiteX5" fmla="*/ 27460 w 54920"/>
                <a:gd name="connsiteY5" fmla="*/ 39924 h 52235"/>
                <a:gd name="connsiteX6" fmla="*/ 10488 w 54920"/>
                <a:gd name="connsiteY6" fmla="*/ 52235 h 52235"/>
                <a:gd name="connsiteX7" fmla="*/ 16973 w 54920"/>
                <a:gd name="connsiteY7" fmla="*/ 32273 h 52235"/>
                <a:gd name="connsiteX8" fmla="*/ 0 w 54920"/>
                <a:gd name="connsiteY8" fmla="*/ 19962 h 52235"/>
                <a:gd name="connsiteX9" fmla="*/ 20975 w 54920"/>
                <a:gd name="connsiteY9" fmla="*/ 19962 h 52235"/>
                <a:gd name="connsiteX10" fmla="*/ 27460 w 5492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5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8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EA1B2F20-C2E6-4B79-B25A-8B760B39403C}"/>
                </a:ext>
              </a:extLst>
            </p:cNvPr>
            <p:cNvSpPr/>
            <p:nvPr/>
          </p:nvSpPr>
          <p:spPr>
            <a:xfrm>
              <a:off x="20108988" y="10500152"/>
              <a:ext cx="54920" cy="52235"/>
            </a:xfrm>
            <a:custGeom>
              <a:avLst/>
              <a:gdLst>
                <a:gd name="connsiteX0" fmla="*/ 27460 w 54920"/>
                <a:gd name="connsiteY0" fmla="*/ 0 h 52235"/>
                <a:gd name="connsiteX1" fmla="*/ 33945 w 54920"/>
                <a:gd name="connsiteY1" fmla="*/ 19962 h 52235"/>
                <a:gd name="connsiteX2" fmla="*/ 54920 w 54920"/>
                <a:gd name="connsiteY2" fmla="*/ 19962 h 52235"/>
                <a:gd name="connsiteX3" fmla="*/ 37948 w 54920"/>
                <a:gd name="connsiteY3" fmla="*/ 32273 h 52235"/>
                <a:gd name="connsiteX4" fmla="*/ 44433 w 54920"/>
                <a:gd name="connsiteY4" fmla="*/ 52235 h 52235"/>
                <a:gd name="connsiteX5" fmla="*/ 27460 w 54920"/>
                <a:gd name="connsiteY5" fmla="*/ 39924 h 52235"/>
                <a:gd name="connsiteX6" fmla="*/ 10488 w 54920"/>
                <a:gd name="connsiteY6" fmla="*/ 52235 h 52235"/>
                <a:gd name="connsiteX7" fmla="*/ 16973 w 54920"/>
                <a:gd name="connsiteY7" fmla="*/ 32273 h 52235"/>
                <a:gd name="connsiteX8" fmla="*/ 0 w 54920"/>
                <a:gd name="connsiteY8" fmla="*/ 19962 h 52235"/>
                <a:gd name="connsiteX9" fmla="*/ 20975 w 54920"/>
                <a:gd name="connsiteY9" fmla="*/ 19962 h 52235"/>
                <a:gd name="connsiteX10" fmla="*/ 27460 w 5492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5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8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5D2679B3-D872-41B7-97DC-5DEE934138C1}"/>
                </a:ext>
              </a:extLst>
            </p:cNvPr>
            <p:cNvSpPr/>
            <p:nvPr/>
          </p:nvSpPr>
          <p:spPr>
            <a:xfrm>
              <a:off x="19992257" y="10500152"/>
              <a:ext cx="54920" cy="52235"/>
            </a:xfrm>
            <a:custGeom>
              <a:avLst/>
              <a:gdLst>
                <a:gd name="connsiteX0" fmla="*/ 27460 w 54920"/>
                <a:gd name="connsiteY0" fmla="*/ 0 h 52235"/>
                <a:gd name="connsiteX1" fmla="*/ 33945 w 54920"/>
                <a:gd name="connsiteY1" fmla="*/ 19962 h 52235"/>
                <a:gd name="connsiteX2" fmla="*/ 54920 w 54920"/>
                <a:gd name="connsiteY2" fmla="*/ 19962 h 52235"/>
                <a:gd name="connsiteX3" fmla="*/ 37948 w 54920"/>
                <a:gd name="connsiteY3" fmla="*/ 32273 h 52235"/>
                <a:gd name="connsiteX4" fmla="*/ 44433 w 54920"/>
                <a:gd name="connsiteY4" fmla="*/ 52235 h 52235"/>
                <a:gd name="connsiteX5" fmla="*/ 27460 w 54920"/>
                <a:gd name="connsiteY5" fmla="*/ 39924 h 52235"/>
                <a:gd name="connsiteX6" fmla="*/ 10488 w 54920"/>
                <a:gd name="connsiteY6" fmla="*/ 52235 h 52235"/>
                <a:gd name="connsiteX7" fmla="*/ 16973 w 54920"/>
                <a:gd name="connsiteY7" fmla="*/ 32273 h 52235"/>
                <a:gd name="connsiteX8" fmla="*/ 0 w 54920"/>
                <a:gd name="connsiteY8" fmla="*/ 19962 h 52235"/>
                <a:gd name="connsiteX9" fmla="*/ 20975 w 54920"/>
                <a:gd name="connsiteY9" fmla="*/ 19962 h 52235"/>
                <a:gd name="connsiteX10" fmla="*/ 27460 w 5492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5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8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B4797A0D-C6A8-4D44-B194-78C246A7CF80}"/>
                </a:ext>
              </a:extLst>
            </p:cNvPr>
            <p:cNvSpPr/>
            <p:nvPr/>
          </p:nvSpPr>
          <p:spPr>
            <a:xfrm>
              <a:off x="19875476" y="10500152"/>
              <a:ext cx="54970" cy="52235"/>
            </a:xfrm>
            <a:custGeom>
              <a:avLst/>
              <a:gdLst>
                <a:gd name="connsiteX0" fmla="*/ 27460 w 54970"/>
                <a:gd name="connsiteY0" fmla="*/ 0 h 52235"/>
                <a:gd name="connsiteX1" fmla="*/ 33945 w 54970"/>
                <a:gd name="connsiteY1" fmla="*/ 19962 h 52235"/>
                <a:gd name="connsiteX2" fmla="*/ 54971 w 54970"/>
                <a:gd name="connsiteY2" fmla="*/ 19962 h 52235"/>
                <a:gd name="connsiteX3" fmla="*/ 37948 w 54970"/>
                <a:gd name="connsiteY3" fmla="*/ 32273 h 52235"/>
                <a:gd name="connsiteX4" fmla="*/ 44433 w 54970"/>
                <a:gd name="connsiteY4" fmla="*/ 52235 h 52235"/>
                <a:gd name="connsiteX5" fmla="*/ 27460 w 54970"/>
                <a:gd name="connsiteY5" fmla="*/ 39924 h 52235"/>
                <a:gd name="connsiteX6" fmla="*/ 10488 w 54970"/>
                <a:gd name="connsiteY6" fmla="*/ 52235 h 52235"/>
                <a:gd name="connsiteX7" fmla="*/ 16973 w 54970"/>
                <a:gd name="connsiteY7" fmla="*/ 32273 h 52235"/>
                <a:gd name="connsiteX8" fmla="*/ 0 w 54970"/>
                <a:gd name="connsiteY8" fmla="*/ 19962 h 52235"/>
                <a:gd name="connsiteX9" fmla="*/ 20975 w 54970"/>
                <a:gd name="connsiteY9" fmla="*/ 19962 h 52235"/>
                <a:gd name="connsiteX10" fmla="*/ 27460 w 5497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70" h="52235">
                  <a:moveTo>
                    <a:pt x="27460" y="0"/>
                  </a:moveTo>
                  <a:lnTo>
                    <a:pt x="33945" y="19962"/>
                  </a:lnTo>
                  <a:lnTo>
                    <a:pt x="54971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8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CCCC63D-B913-4D55-B729-40362694872B}"/>
                </a:ext>
              </a:extLst>
            </p:cNvPr>
            <p:cNvSpPr/>
            <p:nvPr/>
          </p:nvSpPr>
          <p:spPr>
            <a:xfrm>
              <a:off x="19758745" y="10500152"/>
              <a:ext cx="54920" cy="52235"/>
            </a:xfrm>
            <a:custGeom>
              <a:avLst/>
              <a:gdLst>
                <a:gd name="connsiteX0" fmla="*/ 27460 w 54920"/>
                <a:gd name="connsiteY0" fmla="*/ 0 h 52235"/>
                <a:gd name="connsiteX1" fmla="*/ 33945 w 54920"/>
                <a:gd name="connsiteY1" fmla="*/ 19962 h 52235"/>
                <a:gd name="connsiteX2" fmla="*/ 54920 w 54920"/>
                <a:gd name="connsiteY2" fmla="*/ 19962 h 52235"/>
                <a:gd name="connsiteX3" fmla="*/ 37948 w 54920"/>
                <a:gd name="connsiteY3" fmla="*/ 32273 h 52235"/>
                <a:gd name="connsiteX4" fmla="*/ 44433 w 54920"/>
                <a:gd name="connsiteY4" fmla="*/ 52235 h 52235"/>
                <a:gd name="connsiteX5" fmla="*/ 27460 w 54920"/>
                <a:gd name="connsiteY5" fmla="*/ 39924 h 52235"/>
                <a:gd name="connsiteX6" fmla="*/ 10487 w 54920"/>
                <a:gd name="connsiteY6" fmla="*/ 52235 h 52235"/>
                <a:gd name="connsiteX7" fmla="*/ 16973 w 54920"/>
                <a:gd name="connsiteY7" fmla="*/ 32273 h 52235"/>
                <a:gd name="connsiteX8" fmla="*/ 0 w 54920"/>
                <a:gd name="connsiteY8" fmla="*/ 19962 h 52235"/>
                <a:gd name="connsiteX9" fmla="*/ 20975 w 54920"/>
                <a:gd name="connsiteY9" fmla="*/ 19962 h 52235"/>
                <a:gd name="connsiteX10" fmla="*/ 27460 w 54920"/>
                <a:gd name="connsiteY10" fmla="*/ 0 h 52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920" h="52235">
                  <a:moveTo>
                    <a:pt x="27460" y="0"/>
                  </a:moveTo>
                  <a:lnTo>
                    <a:pt x="33945" y="19962"/>
                  </a:lnTo>
                  <a:lnTo>
                    <a:pt x="54920" y="19962"/>
                  </a:lnTo>
                  <a:lnTo>
                    <a:pt x="37948" y="32273"/>
                  </a:lnTo>
                  <a:lnTo>
                    <a:pt x="44433" y="52235"/>
                  </a:lnTo>
                  <a:lnTo>
                    <a:pt x="27460" y="39924"/>
                  </a:lnTo>
                  <a:lnTo>
                    <a:pt x="10487" y="52235"/>
                  </a:lnTo>
                  <a:lnTo>
                    <a:pt x="16973" y="32273"/>
                  </a:lnTo>
                  <a:lnTo>
                    <a:pt x="0" y="19962"/>
                  </a:lnTo>
                  <a:lnTo>
                    <a:pt x="20975" y="19962"/>
                  </a:lnTo>
                  <a:lnTo>
                    <a:pt x="27460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8" name="Graphic 12436">
            <a:extLst>
              <a:ext uri="{FF2B5EF4-FFF2-40B4-BE49-F238E27FC236}">
                <a16:creationId xmlns:a16="http://schemas.microsoft.com/office/drawing/2014/main" id="{CB62C666-27F8-453F-BF2A-C866A1F64F83}"/>
              </a:ext>
            </a:extLst>
          </p:cNvPr>
          <p:cNvGrpSpPr/>
          <p:nvPr/>
        </p:nvGrpSpPr>
        <p:grpSpPr>
          <a:xfrm>
            <a:off x="9463908" y="3773002"/>
            <a:ext cx="1189493" cy="1189493"/>
            <a:chOff x="2701290" y="158386"/>
            <a:chExt cx="1032891" cy="1033088"/>
          </a:xfrm>
        </p:grpSpPr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266CC634-CFA0-48C4-B613-E2ADB036DFB7}"/>
                </a:ext>
              </a:extLst>
            </p:cNvPr>
            <p:cNvSpPr/>
            <p:nvPr/>
          </p:nvSpPr>
          <p:spPr>
            <a:xfrm>
              <a:off x="2741009" y="873619"/>
              <a:ext cx="953452" cy="79343"/>
            </a:xfrm>
            <a:custGeom>
              <a:avLst/>
              <a:gdLst>
                <a:gd name="connsiteX0" fmla="*/ 953452 w 953452"/>
                <a:gd name="connsiteY0" fmla="*/ 0 h 79343"/>
                <a:gd name="connsiteX1" fmla="*/ 911733 w 953452"/>
                <a:gd name="connsiteY1" fmla="*/ 79343 h 79343"/>
                <a:gd name="connsiteX2" fmla="*/ 41720 w 953452"/>
                <a:gd name="connsiteY2" fmla="*/ 79343 h 79343"/>
                <a:gd name="connsiteX3" fmla="*/ 0 w 953452"/>
                <a:gd name="connsiteY3" fmla="*/ 0 h 7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3452" h="79343">
                  <a:moveTo>
                    <a:pt x="953452" y="0"/>
                  </a:moveTo>
                  <a:cubicBezTo>
                    <a:pt x="941934" y="27636"/>
                    <a:pt x="927972" y="54189"/>
                    <a:pt x="911733" y="79343"/>
                  </a:cubicBezTo>
                  <a:lnTo>
                    <a:pt x="41720" y="79343"/>
                  </a:lnTo>
                  <a:cubicBezTo>
                    <a:pt x="25517" y="54168"/>
                    <a:pt x="11557" y="27618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966A1A5-46DE-4FBE-A32C-4E6DD95173A0}"/>
                </a:ext>
              </a:extLst>
            </p:cNvPr>
            <p:cNvSpPr/>
            <p:nvPr/>
          </p:nvSpPr>
          <p:spPr>
            <a:xfrm>
              <a:off x="2715196" y="794085"/>
              <a:ext cx="1005268" cy="79533"/>
            </a:xfrm>
            <a:custGeom>
              <a:avLst/>
              <a:gdLst>
                <a:gd name="connsiteX0" fmla="*/ 1005269 w 1005268"/>
                <a:gd name="connsiteY0" fmla="*/ 0 h 79533"/>
                <a:gd name="connsiteX1" fmla="*/ 979361 w 1005268"/>
                <a:gd name="connsiteY1" fmla="*/ 79534 h 79533"/>
                <a:gd name="connsiteX2" fmla="*/ 25813 w 1005268"/>
                <a:gd name="connsiteY2" fmla="*/ 79534 h 79533"/>
                <a:gd name="connsiteX3" fmla="*/ 0 w 1005268"/>
                <a:gd name="connsiteY3" fmla="*/ 0 h 79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5268" h="79533">
                  <a:moveTo>
                    <a:pt x="1005269" y="0"/>
                  </a:moveTo>
                  <a:cubicBezTo>
                    <a:pt x="998866" y="27187"/>
                    <a:pt x="990200" y="53791"/>
                    <a:pt x="979361" y="79534"/>
                  </a:cubicBezTo>
                  <a:lnTo>
                    <a:pt x="25813" y="79534"/>
                  </a:lnTo>
                  <a:cubicBezTo>
                    <a:pt x="15047" y="53773"/>
                    <a:pt x="6414" y="27173"/>
                    <a:pt x="0" y="0"/>
                  </a:cubicBezTo>
                  <a:close/>
                </a:path>
              </a:pathLst>
            </a:custGeom>
            <a:solidFill>
              <a:srgbClr val="B122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60F8214-3851-42F1-8AA9-0B4A195CCBA5}"/>
                </a:ext>
              </a:extLst>
            </p:cNvPr>
            <p:cNvSpPr/>
            <p:nvPr/>
          </p:nvSpPr>
          <p:spPr>
            <a:xfrm>
              <a:off x="2702814" y="714646"/>
              <a:ext cx="1029938" cy="79438"/>
            </a:xfrm>
            <a:custGeom>
              <a:avLst/>
              <a:gdLst>
                <a:gd name="connsiteX0" fmla="*/ 1029938 w 1029938"/>
                <a:gd name="connsiteY0" fmla="*/ 0 h 79438"/>
                <a:gd name="connsiteX1" fmla="*/ 1017556 w 1029938"/>
                <a:gd name="connsiteY1" fmla="*/ 79439 h 79438"/>
                <a:gd name="connsiteX2" fmla="*/ 12383 w 1029938"/>
                <a:gd name="connsiteY2" fmla="*/ 79439 h 79438"/>
                <a:gd name="connsiteX3" fmla="*/ 0 w 1029938"/>
                <a:gd name="connsiteY3" fmla="*/ 0 h 79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9938" h="79438">
                  <a:moveTo>
                    <a:pt x="1029938" y="0"/>
                  </a:moveTo>
                  <a:cubicBezTo>
                    <a:pt x="1027864" y="26759"/>
                    <a:pt x="1023724" y="53318"/>
                    <a:pt x="1017556" y="79439"/>
                  </a:cubicBezTo>
                  <a:lnTo>
                    <a:pt x="12383" y="79439"/>
                  </a:lnTo>
                  <a:cubicBezTo>
                    <a:pt x="6214" y="53318"/>
                    <a:pt x="2074" y="26759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1A574418-84F4-4C76-9F95-09F966869213}"/>
                </a:ext>
              </a:extLst>
            </p:cNvPr>
            <p:cNvSpPr/>
            <p:nvPr/>
          </p:nvSpPr>
          <p:spPr>
            <a:xfrm>
              <a:off x="2782728" y="952962"/>
              <a:ext cx="870013" cy="79533"/>
            </a:xfrm>
            <a:custGeom>
              <a:avLst/>
              <a:gdLst>
                <a:gd name="connsiteX0" fmla="*/ 870014 w 870013"/>
                <a:gd name="connsiteY0" fmla="*/ 0 h 79533"/>
                <a:gd name="connsiteX1" fmla="*/ 807339 w 870013"/>
                <a:gd name="connsiteY1" fmla="*/ 79534 h 79533"/>
                <a:gd name="connsiteX2" fmla="*/ 62675 w 870013"/>
                <a:gd name="connsiteY2" fmla="*/ 79534 h 79533"/>
                <a:gd name="connsiteX3" fmla="*/ 0 w 870013"/>
                <a:gd name="connsiteY3" fmla="*/ 0 h 79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0013" h="79533">
                  <a:moveTo>
                    <a:pt x="870014" y="0"/>
                  </a:moveTo>
                  <a:cubicBezTo>
                    <a:pt x="851832" y="28539"/>
                    <a:pt x="830836" y="55183"/>
                    <a:pt x="807339" y="79534"/>
                  </a:cubicBezTo>
                  <a:lnTo>
                    <a:pt x="62675" y="79534"/>
                  </a:lnTo>
                  <a:cubicBezTo>
                    <a:pt x="39264" y="55108"/>
                    <a:pt x="18274" y="28473"/>
                    <a:pt x="0" y="0"/>
                  </a:cubicBezTo>
                  <a:close/>
                </a:path>
              </a:pathLst>
            </a:custGeom>
            <a:solidFill>
              <a:srgbClr val="B122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00AA2A4F-8958-4F7D-B468-818C985DDE18}"/>
                </a:ext>
              </a:extLst>
            </p:cNvPr>
            <p:cNvSpPr/>
            <p:nvPr/>
          </p:nvSpPr>
          <p:spPr>
            <a:xfrm>
              <a:off x="2942748" y="1111934"/>
              <a:ext cx="549973" cy="79540"/>
            </a:xfrm>
            <a:custGeom>
              <a:avLst/>
              <a:gdLst>
                <a:gd name="connsiteX0" fmla="*/ 549974 w 549973"/>
                <a:gd name="connsiteY0" fmla="*/ 0 h 79540"/>
                <a:gd name="connsiteX1" fmla="*/ 0 w 549973"/>
                <a:gd name="connsiteY1" fmla="*/ 0 h 79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9973" h="79540">
                  <a:moveTo>
                    <a:pt x="549974" y="0"/>
                  </a:moveTo>
                  <a:cubicBezTo>
                    <a:pt x="381987" y="106054"/>
                    <a:pt x="167986" y="106054"/>
                    <a:pt x="0" y="0"/>
                  </a:cubicBezTo>
                  <a:close/>
                </a:path>
              </a:pathLst>
            </a:custGeom>
            <a:solidFill>
              <a:srgbClr val="B122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480A8BF5-EFC8-4358-BA7E-63C971A42B51}"/>
                </a:ext>
              </a:extLst>
            </p:cNvPr>
            <p:cNvSpPr/>
            <p:nvPr/>
          </p:nvSpPr>
          <p:spPr>
            <a:xfrm>
              <a:off x="2845403" y="1032496"/>
              <a:ext cx="744664" cy="79438"/>
            </a:xfrm>
            <a:custGeom>
              <a:avLst/>
              <a:gdLst>
                <a:gd name="connsiteX0" fmla="*/ 744665 w 744664"/>
                <a:gd name="connsiteY0" fmla="*/ 0 h 79438"/>
                <a:gd name="connsiteX1" fmla="*/ 647319 w 744664"/>
                <a:gd name="connsiteY1" fmla="*/ 79438 h 79438"/>
                <a:gd name="connsiteX2" fmla="*/ 97346 w 744664"/>
                <a:gd name="connsiteY2" fmla="*/ 79439 h 79438"/>
                <a:gd name="connsiteX3" fmla="*/ 0 w 744664"/>
                <a:gd name="connsiteY3" fmla="*/ 0 h 79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4664" h="79438">
                  <a:moveTo>
                    <a:pt x="744665" y="0"/>
                  </a:moveTo>
                  <a:cubicBezTo>
                    <a:pt x="715579" y="30353"/>
                    <a:pt x="682887" y="57030"/>
                    <a:pt x="647319" y="79438"/>
                  </a:cubicBezTo>
                  <a:lnTo>
                    <a:pt x="97346" y="79439"/>
                  </a:lnTo>
                  <a:cubicBezTo>
                    <a:pt x="61848" y="56932"/>
                    <a:pt x="29168" y="30263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D29A363C-4E2E-445C-B084-F12BCC543D7A}"/>
                </a:ext>
              </a:extLst>
            </p:cNvPr>
            <p:cNvSpPr/>
            <p:nvPr/>
          </p:nvSpPr>
          <p:spPr>
            <a:xfrm>
              <a:off x="2845403" y="237920"/>
              <a:ext cx="744664" cy="79438"/>
            </a:xfrm>
            <a:custGeom>
              <a:avLst/>
              <a:gdLst>
                <a:gd name="connsiteX0" fmla="*/ 744665 w 744664"/>
                <a:gd name="connsiteY0" fmla="*/ 79439 h 79438"/>
                <a:gd name="connsiteX1" fmla="*/ 0 w 744664"/>
                <a:gd name="connsiteY1" fmla="*/ 79439 h 79438"/>
                <a:gd name="connsiteX2" fmla="*/ 97536 w 744664"/>
                <a:gd name="connsiteY2" fmla="*/ 0 h 79438"/>
                <a:gd name="connsiteX3" fmla="*/ 647224 w 744664"/>
                <a:gd name="connsiteY3" fmla="*/ 0 h 79438"/>
                <a:gd name="connsiteX4" fmla="*/ 744665 w 744664"/>
                <a:gd name="connsiteY4" fmla="*/ 79439 h 79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4664" h="79438">
                  <a:moveTo>
                    <a:pt x="744665" y="79439"/>
                  </a:moveTo>
                  <a:lnTo>
                    <a:pt x="0" y="79439"/>
                  </a:lnTo>
                  <a:cubicBezTo>
                    <a:pt x="29194" y="49127"/>
                    <a:pt x="61943" y="22455"/>
                    <a:pt x="97536" y="0"/>
                  </a:cubicBezTo>
                  <a:lnTo>
                    <a:pt x="647224" y="0"/>
                  </a:lnTo>
                  <a:cubicBezTo>
                    <a:pt x="682805" y="22431"/>
                    <a:pt x="715525" y="49106"/>
                    <a:pt x="744665" y="7943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2F0BCCDA-004F-4224-9B84-32E870B49B08}"/>
                </a:ext>
              </a:extLst>
            </p:cNvPr>
            <p:cNvSpPr/>
            <p:nvPr/>
          </p:nvSpPr>
          <p:spPr>
            <a:xfrm>
              <a:off x="2942939" y="158386"/>
              <a:ext cx="549687" cy="79534"/>
            </a:xfrm>
            <a:custGeom>
              <a:avLst/>
              <a:gdLst>
                <a:gd name="connsiteX0" fmla="*/ 549688 w 549687"/>
                <a:gd name="connsiteY0" fmla="*/ 79534 h 79534"/>
                <a:gd name="connsiteX1" fmla="*/ 0 w 549687"/>
                <a:gd name="connsiteY1" fmla="*/ 79534 h 79534"/>
                <a:gd name="connsiteX2" fmla="*/ 50959 w 549687"/>
                <a:gd name="connsiteY2" fmla="*/ 50959 h 79534"/>
                <a:gd name="connsiteX3" fmla="*/ 55912 w 549687"/>
                <a:gd name="connsiteY3" fmla="*/ 48578 h 79534"/>
                <a:gd name="connsiteX4" fmla="*/ 74009 w 549687"/>
                <a:gd name="connsiteY4" fmla="*/ 40482 h 79534"/>
                <a:gd name="connsiteX5" fmla="*/ 82201 w 549687"/>
                <a:gd name="connsiteY5" fmla="*/ 37434 h 79534"/>
                <a:gd name="connsiteX6" fmla="*/ 274701 w 549687"/>
                <a:gd name="connsiteY6" fmla="*/ 0 h 79534"/>
                <a:gd name="connsiteX7" fmla="*/ 274701 w 549687"/>
                <a:gd name="connsiteY7" fmla="*/ 0 h 79534"/>
                <a:gd name="connsiteX8" fmla="*/ 549688 w 549687"/>
                <a:gd name="connsiteY8" fmla="*/ 79534 h 79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9687" h="79534">
                  <a:moveTo>
                    <a:pt x="549688" y="79534"/>
                  </a:moveTo>
                  <a:lnTo>
                    <a:pt x="0" y="79534"/>
                  </a:lnTo>
                  <a:cubicBezTo>
                    <a:pt x="16404" y="69006"/>
                    <a:pt x="33420" y="59464"/>
                    <a:pt x="50959" y="50959"/>
                  </a:cubicBezTo>
                  <a:lnTo>
                    <a:pt x="55912" y="48578"/>
                  </a:lnTo>
                  <a:cubicBezTo>
                    <a:pt x="61817" y="45816"/>
                    <a:pt x="67913" y="43149"/>
                    <a:pt x="74009" y="40482"/>
                  </a:cubicBezTo>
                  <a:lnTo>
                    <a:pt x="82201" y="37434"/>
                  </a:lnTo>
                  <a:cubicBezTo>
                    <a:pt x="143359" y="12678"/>
                    <a:pt x="208723" y="-33"/>
                    <a:pt x="274701" y="0"/>
                  </a:cubicBezTo>
                  <a:lnTo>
                    <a:pt x="274701" y="0"/>
                  </a:lnTo>
                  <a:cubicBezTo>
                    <a:pt x="372053" y="-117"/>
                    <a:pt x="467428" y="27469"/>
                    <a:pt x="549688" y="79534"/>
                  </a:cubicBezTo>
                  <a:close/>
                </a:path>
              </a:pathLst>
            </a:custGeom>
            <a:solidFill>
              <a:srgbClr val="B122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1216FD25-D6DC-475C-BEA6-A15942E750BD}"/>
                </a:ext>
              </a:extLst>
            </p:cNvPr>
            <p:cNvSpPr/>
            <p:nvPr/>
          </p:nvSpPr>
          <p:spPr>
            <a:xfrm>
              <a:off x="2782728" y="317168"/>
              <a:ext cx="870013" cy="79343"/>
            </a:xfrm>
            <a:custGeom>
              <a:avLst/>
              <a:gdLst>
                <a:gd name="connsiteX0" fmla="*/ 870014 w 870013"/>
                <a:gd name="connsiteY0" fmla="*/ 79343 h 79343"/>
                <a:gd name="connsiteX1" fmla="*/ 0 w 870013"/>
                <a:gd name="connsiteY1" fmla="*/ 79343 h 79343"/>
                <a:gd name="connsiteX2" fmla="*/ 14288 w 870013"/>
                <a:gd name="connsiteY2" fmla="*/ 58388 h 79343"/>
                <a:gd name="connsiteX3" fmla="*/ 15526 w 870013"/>
                <a:gd name="connsiteY3" fmla="*/ 56674 h 79343"/>
                <a:gd name="connsiteX4" fmla="*/ 63151 w 870013"/>
                <a:gd name="connsiteY4" fmla="*/ 0 h 79343"/>
                <a:gd name="connsiteX5" fmla="*/ 807339 w 870013"/>
                <a:gd name="connsiteY5" fmla="*/ 0 h 79343"/>
                <a:gd name="connsiteX6" fmla="*/ 870014 w 870013"/>
                <a:gd name="connsiteY6" fmla="*/ 79343 h 7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70013" h="79343">
                  <a:moveTo>
                    <a:pt x="870014" y="79343"/>
                  </a:moveTo>
                  <a:lnTo>
                    <a:pt x="0" y="79343"/>
                  </a:lnTo>
                  <a:cubicBezTo>
                    <a:pt x="4572" y="72295"/>
                    <a:pt x="9525" y="65246"/>
                    <a:pt x="14288" y="58388"/>
                  </a:cubicBezTo>
                  <a:lnTo>
                    <a:pt x="15526" y="56674"/>
                  </a:lnTo>
                  <a:cubicBezTo>
                    <a:pt x="30078" y="36709"/>
                    <a:pt x="45991" y="17773"/>
                    <a:pt x="63151" y="0"/>
                  </a:cubicBezTo>
                  <a:lnTo>
                    <a:pt x="807339" y="0"/>
                  </a:lnTo>
                  <a:cubicBezTo>
                    <a:pt x="830789" y="24322"/>
                    <a:pt x="851782" y="50899"/>
                    <a:pt x="870014" y="79343"/>
                  </a:cubicBezTo>
                  <a:close/>
                </a:path>
              </a:pathLst>
            </a:custGeom>
            <a:solidFill>
              <a:srgbClr val="B122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39C3286E-FD1B-4379-877A-D77ABC7405DB}"/>
                </a:ext>
              </a:extLst>
            </p:cNvPr>
            <p:cNvSpPr/>
            <p:nvPr/>
          </p:nvSpPr>
          <p:spPr>
            <a:xfrm>
              <a:off x="2715196" y="476236"/>
              <a:ext cx="1005268" cy="79533"/>
            </a:xfrm>
            <a:custGeom>
              <a:avLst/>
              <a:gdLst>
                <a:gd name="connsiteX0" fmla="*/ 1005269 w 1005268"/>
                <a:gd name="connsiteY0" fmla="*/ 79534 h 79533"/>
                <a:gd name="connsiteX1" fmla="*/ 0 w 1005268"/>
                <a:gd name="connsiteY1" fmla="*/ 79534 h 79533"/>
                <a:gd name="connsiteX2" fmla="*/ 25813 w 1005268"/>
                <a:gd name="connsiteY2" fmla="*/ 0 h 79533"/>
                <a:gd name="connsiteX3" fmla="*/ 979265 w 1005268"/>
                <a:gd name="connsiteY3" fmla="*/ 0 h 79533"/>
                <a:gd name="connsiteX4" fmla="*/ 1005269 w 1005268"/>
                <a:gd name="connsiteY4" fmla="*/ 79534 h 79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5268" h="79533">
                  <a:moveTo>
                    <a:pt x="1005269" y="79534"/>
                  </a:moveTo>
                  <a:lnTo>
                    <a:pt x="0" y="79534"/>
                  </a:lnTo>
                  <a:cubicBezTo>
                    <a:pt x="6443" y="52369"/>
                    <a:pt x="15075" y="25771"/>
                    <a:pt x="25813" y="0"/>
                  </a:cubicBezTo>
                  <a:lnTo>
                    <a:pt x="979265" y="0"/>
                  </a:lnTo>
                  <a:cubicBezTo>
                    <a:pt x="990109" y="25750"/>
                    <a:pt x="998806" y="52352"/>
                    <a:pt x="1005269" y="79534"/>
                  </a:cubicBezTo>
                  <a:close/>
                </a:path>
              </a:pathLst>
            </a:custGeom>
            <a:solidFill>
              <a:srgbClr val="B122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5C5A5FFA-CED6-43F3-8AEB-C31EC7336B82}"/>
                </a:ext>
              </a:extLst>
            </p:cNvPr>
            <p:cNvSpPr/>
            <p:nvPr/>
          </p:nvSpPr>
          <p:spPr>
            <a:xfrm>
              <a:off x="2741009" y="396607"/>
              <a:ext cx="953452" cy="79628"/>
            </a:xfrm>
            <a:custGeom>
              <a:avLst/>
              <a:gdLst>
                <a:gd name="connsiteX0" fmla="*/ 953452 w 953452"/>
                <a:gd name="connsiteY0" fmla="*/ 79629 h 79628"/>
                <a:gd name="connsiteX1" fmla="*/ 0 w 953452"/>
                <a:gd name="connsiteY1" fmla="*/ 79629 h 79628"/>
                <a:gd name="connsiteX2" fmla="*/ 6763 w 953452"/>
                <a:gd name="connsiteY2" fmla="*/ 64294 h 79628"/>
                <a:gd name="connsiteX3" fmla="*/ 24860 w 953452"/>
                <a:gd name="connsiteY3" fmla="*/ 28575 h 79628"/>
                <a:gd name="connsiteX4" fmla="*/ 41720 w 953452"/>
                <a:gd name="connsiteY4" fmla="*/ 0 h 79628"/>
                <a:gd name="connsiteX5" fmla="*/ 911733 w 953452"/>
                <a:gd name="connsiteY5" fmla="*/ 0 h 79628"/>
                <a:gd name="connsiteX6" fmla="*/ 953452 w 953452"/>
                <a:gd name="connsiteY6" fmla="*/ 79629 h 79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3452" h="79628">
                  <a:moveTo>
                    <a:pt x="953452" y="79629"/>
                  </a:moveTo>
                  <a:lnTo>
                    <a:pt x="0" y="79629"/>
                  </a:lnTo>
                  <a:cubicBezTo>
                    <a:pt x="2095" y="74581"/>
                    <a:pt x="4286" y="69437"/>
                    <a:pt x="6763" y="64294"/>
                  </a:cubicBezTo>
                  <a:cubicBezTo>
                    <a:pt x="12287" y="52197"/>
                    <a:pt x="18383" y="40100"/>
                    <a:pt x="24860" y="28575"/>
                  </a:cubicBezTo>
                  <a:cubicBezTo>
                    <a:pt x="30194" y="19050"/>
                    <a:pt x="35814" y="9525"/>
                    <a:pt x="41720" y="0"/>
                  </a:cubicBezTo>
                  <a:lnTo>
                    <a:pt x="911733" y="0"/>
                  </a:lnTo>
                  <a:cubicBezTo>
                    <a:pt x="927959" y="25262"/>
                    <a:pt x="941919" y="51909"/>
                    <a:pt x="953452" y="7962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733BEAC5-C4B1-463C-A3C4-8368F8BD67BE}"/>
                </a:ext>
              </a:extLst>
            </p:cNvPr>
            <p:cNvSpPr/>
            <p:nvPr/>
          </p:nvSpPr>
          <p:spPr>
            <a:xfrm>
              <a:off x="2702813" y="556436"/>
              <a:ext cx="1029938" cy="78771"/>
            </a:xfrm>
            <a:custGeom>
              <a:avLst/>
              <a:gdLst>
                <a:gd name="connsiteX0" fmla="*/ 1029938 w 1029938"/>
                <a:gd name="connsiteY0" fmla="*/ 78772 h 78771"/>
                <a:gd name="connsiteX1" fmla="*/ 0 w 1029938"/>
                <a:gd name="connsiteY1" fmla="*/ 78772 h 78771"/>
                <a:gd name="connsiteX2" fmla="*/ 952 w 1029938"/>
                <a:gd name="connsiteY2" fmla="*/ 69247 h 78771"/>
                <a:gd name="connsiteX3" fmla="*/ 4382 w 1029938"/>
                <a:gd name="connsiteY3" fmla="*/ 40672 h 78771"/>
                <a:gd name="connsiteX4" fmla="*/ 12383 w 1029938"/>
                <a:gd name="connsiteY4" fmla="*/ 0 h 78771"/>
                <a:gd name="connsiteX5" fmla="*/ 1017651 w 1029938"/>
                <a:gd name="connsiteY5" fmla="*/ 0 h 78771"/>
                <a:gd name="connsiteX6" fmla="*/ 1029938 w 1029938"/>
                <a:gd name="connsiteY6" fmla="*/ 78772 h 78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9938" h="78771">
                  <a:moveTo>
                    <a:pt x="1029938" y="78772"/>
                  </a:moveTo>
                  <a:lnTo>
                    <a:pt x="0" y="78772"/>
                  </a:lnTo>
                  <a:cubicBezTo>
                    <a:pt x="0" y="75438"/>
                    <a:pt x="572" y="72199"/>
                    <a:pt x="952" y="69247"/>
                  </a:cubicBezTo>
                  <a:cubicBezTo>
                    <a:pt x="1715" y="59722"/>
                    <a:pt x="2953" y="50197"/>
                    <a:pt x="4382" y="40672"/>
                  </a:cubicBezTo>
                  <a:cubicBezTo>
                    <a:pt x="6477" y="26956"/>
                    <a:pt x="9144" y="13335"/>
                    <a:pt x="12383" y="0"/>
                  </a:cubicBezTo>
                  <a:lnTo>
                    <a:pt x="1017651" y="0"/>
                  </a:lnTo>
                  <a:cubicBezTo>
                    <a:pt x="1023761" y="25903"/>
                    <a:pt x="1027869" y="52238"/>
                    <a:pt x="1029938" y="78772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D2354AF4-8CCB-431D-A047-CFBC7F3D8934}"/>
                </a:ext>
              </a:extLst>
            </p:cNvPr>
            <p:cNvSpPr/>
            <p:nvPr/>
          </p:nvSpPr>
          <p:spPr>
            <a:xfrm>
              <a:off x="2701290" y="635208"/>
              <a:ext cx="1032891" cy="79438"/>
            </a:xfrm>
            <a:custGeom>
              <a:avLst/>
              <a:gdLst>
                <a:gd name="connsiteX0" fmla="*/ 1032891 w 1032891"/>
                <a:gd name="connsiteY0" fmla="*/ 39624 h 79438"/>
                <a:gd name="connsiteX1" fmla="*/ 1031462 w 1032891"/>
                <a:gd name="connsiteY1" fmla="*/ 79439 h 79438"/>
                <a:gd name="connsiteX2" fmla="*/ 1524 w 1032891"/>
                <a:gd name="connsiteY2" fmla="*/ 79439 h 79438"/>
                <a:gd name="connsiteX3" fmla="*/ 0 w 1032891"/>
                <a:gd name="connsiteY3" fmla="*/ 39624 h 79438"/>
                <a:gd name="connsiteX4" fmla="*/ 1524 w 1032891"/>
                <a:gd name="connsiteY4" fmla="*/ 0 h 79438"/>
                <a:gd name="connsiteX5" fmla="*/ 1031462 w 1032891"/>
                <a:gd name="connsiteY5" fmla="*/ 0 h 79438"/>
                <a:gd name="connsiteX6" fmla="*/ 1032891 w 1032891"/>
                <a:gd name="connsiteY6" fmla="*/ 39624 h 79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32891" h="79438">
                  <a:moveTo>
                    <a:pt x="1032891" y="39624"/>
                  </a:moveTo>
                  <a:cubicBezTo>
                    <a:pt x="1032891" y="53054"/>
                    <a:pt x="1032891" y="66294"/>
                    <a:pt x="1031462" y="79439"/>
                  </a:cubicBezTo>
                  <a:lnTo>
                    <a:pt x="1524" y="79439"/>
                  </a:lnTo>
                  <a:cubicBezTo>
                    <a:pt x="476" y="66103"/>
                    <a:pt x="0" y="53054"/>
                    <a:pt x="0" y="39624"/>
                  </a:cubicBezTo>
                  <a:cubicBezTo>
                    <a:pt x="0" y="26194"/>
                    <a:pt x="476" y="13144"/>
                    <a:pt x="1524" y="0"/>
                  </a:cubicBezTo>
                  <a:lnTo>
                    <a:pt x="1031462" y="0"/>
                  </a:lnTo>
                  <a:cubicBezTo>
                    <a:pt x="1032510" y="13144"/>
                    <a:pt x="1032891" y="26289"/>
                    <a:pt x="1032891" y="39624"/>
                  </a:cubicBezTo>
                  <a:close/>
                </a:path>
              </a:pathLst>
            </a:custGeom>
            <a:solidFill>
              <a:srgbClr val="B122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2D12636E-0D6A-43BC-A3CD-C4E94A58BCDE}"/>
                </a:ext>
              </a:extLst>
            </p:cNvPr>
            <p:cNvSpPr/>
            <p:nvPr/>
          </p:nvSpPr>
          <p:spPr>
            <a:xfrm>
              <a:off x="2701290" y="158386"/>
              <a:ext cx="516350" cy="556260"/>
            </a:xfrm>
            <a:custGeom>
              <a:avLst/>
              <a:gdLst>
                <a:gd name="connsiteX0" fmla="*/ 516350 w 516350"/>
                <a:gd name="connsiteY0" fmla="*/ 0 h 556260"/>
                <a:gd name="connsiteX1" fmla="*/ 516350 w 516350"/>
                <a:gd name="connsiteY1" fmla="*/ 556260 h 556260"/>
                <a:gd name="connsiteX2" fmla="*/ 1524 w 516350"/>
                <a:gd name="connsiteY2" fmla="*/ 556260 h 556260"/>
                <a:gd name="connsiteX3" fmla="*/ 0 w 516350"/>
                <a:gd name="connsiteY3" fmla="*/ 516446 h 556260"/>
                <a:gd name="connsiteX4" fmla="*/ 1524 w 516350"/>
                <a:gd name="connsiteY4" fmla="*/ 476822 h 556260"/>
                <a:gd name="connsiteX5" fmla="*/ 2477 w 516350"/>
                <a:gd name="connsiteY5" fmla="*/ 467297 h 556260"/>
                <a:gd name="connsiteX6" fmla="*/ 5906 w 516350"/>
                <a:gd name="connsiteY6" fmla="*/ 438722 h 556260"/>
                <a:gd name="connsiteX7" fmla="*/ 13907 w 516350"/>
                <a:gd name="connsiteY7" fmla="*/ 398050 h 556260"/>
                <a:gd name="connsiteX8" fmla="*/ 39719 w 516350"/>
                <a:gd name="connsiteY8" fmla="*/ 318516 h 556260"/>
                <a:gd name="connsiteX9" fmla="*/ 46482 w 516350"/>
                <a:gd name="connsiteY9" fmla="*/ 303181 h 556260"/>
                <a:gd name="connsiteX10" fmla="*/ 64580 w 516350"/>
                <a:gd name="connsiteY10" fmla="*/ 267462 h 556260"/>
                <a:gd name="connsiteX11" fmla="*/ 81439 w 516350"/>
                <a:gd name="connsiteY11" fmla="*/ 238887 h 556260"/>
                <a:gd name="connsiteX12" fmla="*/ 95726 w 516350"/>
                <a:gd name="connsiteY12" fmla="*/ 217932 h 556260"/>
                <a:gd name="connsiteX13" fmla="*/ 96965 w 516350"/>
                <a:gd name="connsiteY13" fmla="*/ 216218 h 556260"/>
                <a:gd name="connsiteX14" fmla="*/ 144590 w 516350"/>
                <a:gd name="connsiteY14" fmla="*/ 159544 h 556260"/>
                <a:gd name="connsiteX15" fmla="*/ 241649 w 516350"/>
                <a:gd name="connsiteY15" fmla="*/ 79534 h 556260"/>
                <a:gd name="connsiteX16" fmla="*/ 292608 w 516350"/>
                <a:gd name="connsiteY16" fmla="*/ 50959 h 556260"/>
                <a:gd name="connsiteX17" fmla="*/ 297561 w 516350"/>
                <a:gd name="connsiteY17" fmla="*/ 48578 h 556260"/>
                <a:gd name="connsiteX18" fmla="*/ 315659 w 516350"/>
                <a:gd name="connsiteY18" fmla="*/ 40481 h 556260"/>
                <a:gd name="connsiteX19" fmla="*/ 323850 w 516350"/>
                <a:gd name="connsiteY19" fmla="*/ 37433 h 556260"/>
                <a:gd name="connsiteX20" fmla="*/ 516350 w 516350"/>
                <a:gd name="connsiteY20" fmla="*/ 0 h 556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16350" h="556260">
                  <a:moveTo>
                    <a:pt x="516350" y="0"/>
                  </a:moveTo>
                  <a:lnTo>
                    <a:pt x="516350" y="556260"/>
                  </a:lnTo>
                  <a:lnTo>
                    <a:pt x="1524" y="556260"/>
                  </a:lnTo>
                  <a:cubicBezTo>
                    <a:pt x="476" y="542925"/>
                    <a:pt x="0" y="529876"/>
                    <a:pt x="0" y="516446"/>
                  </a:cubicBezTo>
                  <a:cubicBezTo>
                    <a:pt x="0" y="503015"/>
                    <a:pt x="476" y="489966"/>
                    <a:pt x="1524" y="476822"/>
                  </a:cubicBezTo>
                  <a:cubicBezTo>
                    <a:pt x="1524" y="473488"/>
                    <a:pt x="2096" y="470249"/>
                    <a:pt x="2477" y="467297"/>
                  </a:cubicBezTo>
                  <a:cubicBezTo>
                    <a:pt x="3239" y="457772"/>
                    <a:pt x="4477" y="448247"/>
                    <a:pt x="5906" y="438722"/>
                  </a:cubicBezTo>
                  <a:cubicBezTo>
                    <a:pt x="8001" y="425006"/>
                    <a:pt x="10668" y="411385"/>
                    <a:pt x="13907" y="398050"/>
                  </a:cubicBezTo>
                  <a:cubicBezTo>
                    <a:pt x="20349" y="370885"/>
                    <a:pt x="28982" y="344287"/>
                    <a:pt x="39719" y="318516"/>
                  </a:cubicBezTo>
                  <a:cubicBezTo>
                    <a:pt x="41815" y="313468"/>
                    <a:pt x="44006" y="308324"/>
                    <a:pt x="46482" y="303181"/>
                  </a:cubicBezTo>
                  <a:cubicBezTo>
                    <a:pt x="52007" y="291084"/>
                    <a:pt x="58103" y="278987"/>
                    <a:pt x="64580" y="267462"/>
                  </a:cubicBezTo>
                  <a:cubicBezTo>
                    <a:pt x="69914" y="257937"/>
                    <a:pt x="75533" y="248412"/>
                    <a:pt x="81439" y="238887"/>
                  </a:cubicBezTo>
                  <a:cubicBezTo>
                    <a:pt x="86011" y="231839"/>
                    <a:pt x="90964" y="224790"/>
                    <a:pt x="95726" y="217932"/>
                  </a:cubicBezTo>
                  <a:lnTo>
                    <a:pt x="96965" y="216218"/>
                  </a:lnTo>
                  <a:cubicBezTo>
                    <a:pt x="111517" y="196253"/>
                    <a:pt x="127430" y="177317"/>
                    <a:pt x="144590" y="159544"/>
                  </a:cubicBezTo>
                  <a:cubicBezTo>
                    <a:pt x="173602" y="129062"/>
                    <a:pt x="206192" y="102198"/>
                    <a:pt x="241649" y="79534"/>
                  </a:cubicBezTo>
                  <a:cubicBezTo>
                    <a:pt x="258053" y="69005"/>
                    <a:pt x="275069" y="59463"/>
                    <a:pt x="292608" y="50959"/>
                  </a:cubicBezTo>
                  <a:lnTo>
                    <a:pt x="297561" y="48578"/>
                  </a:lnTo>
                  <a:cubicBezTo>
                    <a:pt x="303467" y="45815"/>
                    <a:pt x="309563" y="43148"/>
                    <a:pt x="315659" y="40481"/>
                  </a:cubicBezTo>
                  <a:lnTo>
                    <a:pt x="323850" y="37433"/>
                  </a:lnTo>
                  <a:cubicBezTo>
                    <a:pt x="385008" y="12677"/>
                    <a:pt x="450372" y="-33"/>
                    <a:pt x="516350" y="0"/>
                  </a:cubicBezTo>
                  <a:close/>
                </a:path>
              </a:pathLst>
            </a:custGeom>
            <a:solidFill>
              <a:srgbClr val="3C3B6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9900F02C-C3AC-4638-99D1-52E4A59A953F}"/>
                </a:ext>
              </a:extLst>
            </p:cNvPr>
            <p:cNvSpPr/>
            <p:nvPr/>
          </p:nvSpPr>
          <p:spPr>
            <a:xfrm>
              <a:off x="3121628" y="184961"/>
              <a:ext cx="61531" cy="58483"/>
            </a:xfrm>
            <a:custGeom>
              <a:avLst/>
              <a:gdLst>
                <a:gd name="connsiteX0" fmla="*/ 30670 w 61531"/>
                <a:gd name="connsiteY0" fmla="*/ 0 h 58483"/>
                <a:gd name="connsiteX1" fmla="*/ 38005 w 61531"/>
                <a:gd name="connsiteY1" fmla="*/ 22193 h 58483"/>
                <a:gd name="connsiteX2" fmla="*/ 61531 w 61531"/>
                <a:gd name="connsiteY2" fmla="*/ 22193 h 58483"/>
                <a:gd name="connsiteX3" fmla="*/ 42481 w 61531"/>
                <a:gd name="connsiteY3" fmla="*/ 36100 h 58483"/>
                <a:gd name="connsiteX4" fmla="*/ 49816 w 61531"/>
                <a:gd name="connsiteY4" fmla="*/ 58484 h 58483"/>
                <a:gd name="connsiteX5" fmla="*/ 30670 w 61531"/>
                <a:gd name="connsiteY5" fmla="*/ 44577 h 58483"/>
                <a:gd name="connsiteX6" fmla="*/ 11620 w 61531"/>
                <a:gd name="connsiteY6" fmla="*/ 58484 h 58483"/>
                <a:gd name="connsiteX7" fmla="*/ 18955 w 61531"/>
                <a:gd name="connsiteY7" fmla="*/ 36100 h 58483"/>
                <a:gd name="connsiteX8" fmla="*/ 0 w 61531"/>
                <a:gd name="connsiteY8" fmla="*/ 22193 h 58483"/>
                <a:gd name="connsiteX9" fmla="*/ 23431 w 61531"/>
                <a:gd name="connsiteY9" fmla="*/ 22193 h 58483"/>
                <a:gd name="connsiteX10" fmla="*/ 30670 w 61531"/>
                <a:gd name="connsiteY10" fmla="*/ 0 h 58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483">
                  <a:moveTo>
                    <a:pt x="30670" y="0"/>
                  </a:moveTo>
                  <a:lnTo>
                    <a:pt x="38005" y="22193"/>
                  </a:lnTo>
                  <a:lnTo>
                    <a:pt x="61531" y="22193"/>
                  </a:lnTo>
                  <a:lnTo>
                    <a:pt x="42481" y="36100"/>
                  </a:lnTo>
                  <a:lnTo>
                    <a:pt x="49816" y="58484"/>
                  </a:lnTo>
                  <a:lnTo>
                    <a:pt x="30670" y="44577"/>
                  </a:lnTo>
                  <a:lnTo>
                    <a:pt x="11620" y="58484"/>
                  </a:lnTo>
                  <a:lnTo>
                    <a:pt x="18955" y="36100"/>
                  </a:lnTo>
                  <a:lnTo>
                    <a:pt x="0" y="22193"/>
                  </a:lnTo>
                  <a:lnTo>
                    <a:pt x="23431" y="22193"/>
                  </a:lnTo>
                  <a:lnTo>
                    <a:pt x="30670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1CD18645-CC11-441C-AB91-8F5AA194210F}"/>
                </a:ext>
              </a:extLst>
            </p:cNvPr>
            <p:cNvSpPr/>
            <p:nvPr/>
          </p:nvSpPr>
          <p:spPr>
            <a:xfrm>
              <a:off x="2993897" y="195820"/>
              <a:ext cx="58483" cy="47625"/>
            </a:xfrm>
            <a:custGeom>
              <a:avLst/>
              <a:gdLst>
                <a:gd name="connsiteX0" fmla="*/ 44958 w 58483"/>
                <a:gd name="connsiteY0" fmla="*/ 42101 h 47625"/>
                <a:gd name="connsiteX1" fmla="*/ 46672 w 58483"/>
                <a:gd name="connsiteY1" fmla="*/ 47625 h 47625"/>
                <a:gd name="connsiteX2" fmla="*/ 39148 w 58483"/>
                <a:gd name="connsiteY2" fmla="*/ 42101 h 47625"/>
                <a:gd name="connsiteX3" fmla="*/ 27718 w 58483"/>
                <a:gd name="connsiteY3" fmla="*/ 33718 h 47625"/>
                <a:gd name="connsiteX4" fmla="*/ 16192 w 58483"/>
                <a:gd name="connsiteY4" fmla="*/ 42101 h 47625"/>
                <a:gd name="connsiteX5" fmla="*/ 8668 w 58483"/>
                <a:gd name="connsiteY5" fmla="*/ 47625 h 47625"/>
                <a:gd name="connsiteX6" fmla="*/ 10382 w 58483"/>
                <a:gd name="connsiteY6" fmla="*/ 42101 h 47625"/>
                <a:gd name="connsiteX7" fmla="*/ 15907 w 58483"/>
                <a:gd name="connsiteY7" fmla="*/ 25241 h 47625"/>
                <a:gd name="connsiteX8" fmla="*/ 0 w 58483"/>
                <a:gd name="connsiteY8" fmla="*/ 13716 h 47625"/>
                <a:gd name="connsiteX9" fmla="*/ 4953 w 58483"/>
                <a:gd name="connsiteY9" fmla="*/ 11335 h 47625"/>
                <a:gd name="connsiteX10" fmla="*/ 20384 w 58483"/>
                <a:gd name="connsiteY10" fmla="*/ 11335 h 47625"/>
                <a:gd name="connsiteX11" fmla="*/ 23051 w 58483"/>
                <a:gd name="connsiteY11" fmla="*/ 3238 h 47625"/>
                <a:gd name="connsiteX12" fmla="*/ 31242 w 58483"/>
                <a:gd name="connsiteY12" fmla="*/ 0 h 47625"/>
                <a:gd name="connsiteX13" fmla="*/ 35052 w 58483"/>
                <a:gd name="connsiteY13" fmla="*/ 11335 h 47625"/>
                <a:gd name="connsiteX14" fmla="*/ 58484 w 58483"/>
                <a:gd name="connsiteY14" fmla="*/ 11335 h 47625"/>
                <a:gd name="connsiteX15" fmla="*/ 39434 w 58483"/>
                <a:gd name="connsiteY15" fmla="*/ 25241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8483" h="47625">
                  <a:moveTo>
                    <a:pt x="44958" y="42101"/>
                  </a:moveTo>
                  <a:lnTo>
                    <a:pt x="46672" y="47625"/>
                  </a:lnTo>
                  <a:lnTo>
                    <a:pt x="39148" y="42101"/>
                  </a:lnTo>
                  <a:lnTo>
                    <a:pt x="27718" y="33718"/>
                  </a:lnTo>
                  <a:lnTo>
                    <a:pt x="16192" y="42101"/>
                  </a:lnTo>
                  <a:lnTo>
                    <a:pt x="8668" y="47625"/>
                  </a:lnTo>
                  <a:lnTo>
                    <a:pt x="10382" y="42101"/>
                  </a:lnTo>
                  <a:lnTo>
                    <a:pt x="15907" y="25241"/>
                  </a:lnTo>
                  <a:lnTo>
                    <a:pt x="0" y="13716"/>
                  </a:lnTo>
                  <a:lnTo>
                    <a:pt x="4953" y="11335"/>
                  </a:lnTo>
                  <a:lnTo>
                    <a:pt x="20384" y="11335"/>
                  </a:lnTo>
                  <a:lnTo>
                    <a:pt x="23051" y="3238"/>
                  </a:lnTo>
                  <a:lnTo>
                    <a:pt x="31242" y="0"/>
                  </a:lnTo>
                  <a:lnTo>
                    <a:pt x="35052" y="11335"/>
                  </a:lnTo>
                  <a:lnTo>
                    <a:pt x="58484" y="11335"/>
                  </a:lnTo>
                  <a:lnTo>
                    <a:pt x="39434" y="2524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897D7490-1940-4660-B2E7-85EEA0AFC425}"/>
                </a:ext>
              </a:extLst>
            </p:cNvPr>
            <p:cNvSpPr/>
            <p:nvPr/>
          </p:nvSpPr>
          <p:spPr>
            <a:xfrm>
              <a:off x="3121628" y="296023"/>
              <a:ext cx="61531" cy="58578"/>
            </a:xfrm>
            <a:custGeom>
              <a:avLst/>
              <a:gdLst>
                <a:gd name="connsiteX0" fmla="*/ 30670 w 61531"/>
                <a:gd name="connsiteY0" fmla="*/ 0 h 58578"/>
                <a:gd name="connsiteX1" fmla="*/ 38005 w 61531"/>
                <a:gd name="connsiteY1" fmla="*/ 22384 h 58578"/>
                <a:gd name="connsiteX2" fmla="*/ 61531 w 61531"/>
                <a:gd name="connsiteY2" fmla="*/ 22384 h 58578"/>
                <a:gd name="connsiteX3" fmla="*/ 42481 w 61531"/>
                <a:gd name="connsiteY3" fmla="*/ 36195 h 58578"/>
                <a:gd name="connsiteX4" fmla="*/ 49816 w 61531"/>
                <a:gd name="connsiteY4" fmla="*/ 58579 h 58578"/>
                <a:gd name="connsiteX5" fmla="*/ 30670 w 61531"/>
                <a:gd name="connsiteY5" fmla="*/ 44768 h 58578"/>
                <a:gd name="connsiteX6" fmla="*/ 11620 w 61531"/>
                <a:gd name="connsiteY6" fmla="*/ 58579 h 58578"/>
                <a:gd name="connsiteX7" fmla="*/ 18955 w 61531"/>
                <a:gd name="connsiteY7" fmla="*/ 36195 h 58578"/>
                <a:gd name="connsiteX8" fmla="*/ 0 w 61531"/>
                <a:gd name="connsiteY8" fmla="*/ 22384 h 58578"/>
                <a:gd name="connsiteX9" fmla="*/ 23431 w 61531"/>
                <a:gd name="connsiteY9" fmla="*/ 22384 h 58578"/>
                <a:gd name="connsiteX10" fmla="*/ 30670 w 61531"/>
                <a:gd name="connsiteY10" fmla="*/ 0 h 58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578">
                  <a:moveTo>
                    <a:pt x="30670" y="0"/>
                  </a:moveTo>
                  <a:lnTo>
                    <a:pt x="38005" y="22384"/>
                  </a:lnTo>
                  <a:lnTo>
                    <a:pt x="61531" y="22384"/>
                  </a:lnTo>
                  <a:lnTo>
                    <a:pt x="42481" y="36195"/>
                  </a:lnTo>
                  <a:lnTo>
                    <a:pt x="49816" y="58579"/>
                  </a:lnTo>
                  <a:lnTo>
                    <a:pt x="30670" y="44768"/>
                  </a:lnTo>
                  <a:lnTo>
                    <a:pt x="11620" y="58579"/>
                  </a:lnTo>
                  <a:lnTo>
                    <a:pt x="18955" y="36195"/>
                  </a:lnTo>
                  <a:lnTo>
                    <a:pt x="0" y="22384"/>
                  </a:lnTo>
                  <a:lnTo>
                    <a:pt x="23431" y="22384"/>
                  </a:lnTo>
                  <a:lnTo>
                    <a:pt x="30670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D273E3FD-58AC-4880-8D11-4FD62AB0FA5D}"/>
                </a:ext>
              </a:extLst>
            </p:cNvPr>
            <p:cNvSpPr/>
            <p:nvPr/>
          </p:nvSpPr>
          <p:spPr>
            <a:xfrm>
              <a:off x="2990754" y="296023"/>
              <a:ext cx="61531" cy="58578"/>
            </a:xfrm>
            <a:custGeom>
              <a:avLst/>
              <a:gdLst>
                <a:gd name="connsiteX0" fmla="*/ 30861 w 61531"/>
                <a:gd name="connsiteY0" fmla="*/ 0 h 58578"/>
                <a:gd name="connsiteX1" fmla="*/ 38100 w 61531"/>
                <a:gd name="connsiteY1" fmla="*/ 22384 h 58578"/>
                <a:gd name="connsiteX2" fmla="*/ 61531 w 61531"/>
                <a:gd name="connsiteY2" fmla="*/ 22384 h 58578"/>
                <a:gd name="connsiteX3" fmla="*/ 42481 w 61531"/>
                <a:gd name="connsiteY3" fmla="*/ 36195 h 58578"/>
                <a:gd name="connsiteX4" fmla="*/ 49816 w 61531"/>
                <a:gd name="connsiteY4" fmla="*/ 58579 h 58578"/>
                <a:gd name="connsiteX5" fmla="*/ 30861 w 61531"/>
                <a:gd name="connsiteY5" fmla="*/ 44768 h 58578"/>
                <a:gd name="connsiteX6" fmla="*/ 11811 w 61531"/>
                <a:gd name="connsiteY6" fmla="*/ 58579 h 58578"/>
                <a:gd name="connsiteX7" fmla="*/ 19145 w 61531"/>
                <a:gd name="connsiteY7" fmla="*/ 36195 h 58578"/>
                <a:gd name="connsiteX8" fmla="*/ 0 w 61531"/>
                <a:gd name="connsiteY8" fmla="*/ 22384 h 58578"/>
                <a:gd name="connsiteX9" fmla="*/ 23527 w 61531"/>
                <a:gd name="connsiteY9" fmla="*/ 22384 h 58578"/>
                <a:gd name="connsiteX10" fmla="*/ 30861 w 61531"/>
                <a:gd name="connsiteY10" fmla="*/ 0 h 58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578">
                  <a:moveTo>
                    <a:pt x="30861" y="0"/>
                  </a:moveTo>
                  <a:lnTo>
                    <a:pt x="38100" y="22384"/>
                  </a:lnTo>
                  <a:lnTo>
                    <a:pt x="61531" y="22384"/>
                  </a:lnTo>
                  <a:lnTo>
                    <a:pt x="42481" y="36195"/>
                  </a:lnTo>
                  <a:lnTo>
                    <a:pt x="49816" y="58579"/>
                  </a:lnTo>
                  <a:lnTo>
                    <a:pt x="30861" y="44768"/>
                  </a:lnTo>
                  <a:lnTo>
                    <a:pt x="11811" y="58579"/>
                  </a:lnTo>
                  <a:lnTo>
                    <a:pt x="19145" y="36195"/>
                  </a:lnTo>
                  <a:lnTo>
                    <a:pt x="0" y="22384"/>
                  </a:lnTo>
                  <a:lnTo>
                    <a:pt x="23527" y="22384"/>
                  </a:lnTo>
                  <a:lnTo>
                    <a:pt x="30861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F3E60CFE-B2F0-4DA3-9058-C96054144F58}"/>
                </a:ext>
              </a:extLst>
            </p:cNvPr>
            <p:cNvSpPr/>
            <p:nvPr/>
          </p:nvSpPr>
          <p:spPr>
            <a:xfrm>
              <a:off x="2860071" y="296023"/>
              <a:ext cx="61531" cy="58578"/>
            </a:xfrm>
            <a:custGeom>
              <a:avLst/>
              <a:gdLst>
                <a:gd name="connsiteX0" fmla="*/ 30766 w 61531"/>
                <a:gd name="connsiteY0" fmla="*/ 0 h 58578"/>
                <a:gd name="connsiteX1" fmla="*/ 38005 w 61531"/>
                <a:gd name="connsiteY1" fmla="*/ 22384 h 58578"/>
                <a:gd name="connsiteX2" fmla="*/ 61531 w 61531"/>
                <a:gd name="connsiteY2" fmla="*/ 22384 h 58578"/>
                <a:gd name="connsiteX3" fmla="*/ 42481 w 61531"/>
                <a:gd name="connsiteY3" fmla="*/ 36195 h 58578"/>
                <a:gd name="connsiteX4" fmla="*/ 49816 w 61531"/>
                <a:gd name="connsiteY4" fmla="*/ 58579 h 58578"/>
                <a:gd name="connsiteX5" fmla="*/ 30766 w 61531"/>
                <a:gd name="connsiteY5" fmla="*/ 44768 h 58578"/>
                <a:gd name="connsiteX6" fmla="*/ 11716 w 61531"/>
                <a:gd name="connsiteY6" fmla="*/ 58579 h 58578"/>
                <a:gd name="connsiteX7" fmla="*/ 18955 w 61531"/>
                <a:gd name="connsiteY7" fmla="*/ 36195 h 58578"/>
                <a:gd name="connsiteX8" fmla="*/ 0 w 61531"/>
                <a:gd name="connsiteY8" fmla="*/ 22384 h 58578"/>
                <a:gd name="connsiteX9" fmla="*/ 23527 w 61531"/>
                <a:gd name="connsiteY9" fmla="*/ 22384 h 58578"/>
                <a:gd name="connsiteX10" fmla="*/ 30766 w 61531"/>
                <a:gd name="connsiteY10" fmla="*/ 0 h 58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578">
                  <a:moveTo>
                    <a:pt x="30766" y="0"/>
                  </a:moveTo>
                  <a:lnTo>
                    <a:pt x="38005" y="22384"/>
                  </a:lnTo>
                  <a:lnTo>
                    <a:pt x="61531" y="22384"/>
                  </a:lnTo>
                  <a:lnTo>
                    <a:pt x="42481" y="36195"/>
                  </a:lnTo>
                  <a:lnTo>
                    <a:pt x="49816" y="58579"/>
                  </a:lnTo>
                  <a:lnTo>
                    <a:pt x="30766" y="44768"/>
                  </a:lnTo>
                  <a:lnTo>
                    <a:pt x="11716" y="58579"/>
                  </a:lnTo>
                  <a:lnTo>
                    <a:pt x="18955" y="36195"/>
                  </a:lnTo>
                  <a:lnTo>
                    <a:pt x="0" y="22384"/>
                  </a:lnTo>
                  <a:lnTo>
                    <a:pt x="23527" y="22384"/>
                  </a:lnTo>
                  <a:lnTo>
                    <a:pt x="30766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B7A836B0-C64A-406A-A09F-1E6C6AA1FDBF}"/>
                </a:ext>
              </a:extLst>
            </p:cNvPr>
            <p:cNvSpPr/>
            <p:nvPr/>
          </p:nvSpPr>
          <p:spPr>
            <a:xfrm>
              <a:off x="3121628" y="407275"/>
              <a:ext cx="61531" cy="58578"/>
            </a:xfrm>
            <a:custGeom>
              <a:avLst/>
              <a:gdLst>
                <a:gd name="connsiteX0" fmla="*/ 30670 w 61531"/>
                <a:gd name="connsiteY0" fmla="*/ 0 h 58578"/>
                <a:gd name="connsiteX1" fmla="*/ 38005 w 61531"/>
                <a:gd name="connsiteY1" fmla="*/ 22384 h 58578"/>
                <a:gd name="connsiteX2" fmla="*/ 61531 w 61531"/>
                <a:gd name="connsiteY2" fmla="*/ 22384 h 58578"/>
                <a:gd name="connsiteX3" fmla="*/ 42481 w 61531"/>
                <a:gd name="connsiteY3" fmla="*/ 36195 h 58578"/>
                <a:gd name="connsiteX4" fmla="*/ 49816 w 61531"/>
                <a:gd name="connsiteY4" fmla="*/ 58579 h 58578"/>
                <a:gd name="connsiteX5" fmla="*/ 30670 w 61531"/>
                <a:gd name="connsiteY5" fmla="*/ 44768 h 58578"/>
                <a:gd name="connsiteX6" fmla="*/ 11620 w 61531"/>
                <a:gd name="connsiteY6" fmla="*/ 58579 h 58578"/>
                <a:gd name="connsiteX7" fmla="*/ 18955 w 61531"/>
                <a:gd name="connsiteY7" fmla="*/ 36195 h 58578"/>
                <a:gd name="connsiteX8" fmla="*/ 0 w 61531"/>
                <a:gd name="connsiteY8" fmla="*/ 22384 h 58578"/>
                <a:gd name="connsiteX9" fmla="*/ 23431 w 61531"/>
                <a:gd name="connsiteY9" fmla="*/ 22384 h 58578"/>
                <a:gd name="connsiteX10" fmla="*/ 30670 w 61531"/>
                <a:gd name="connsiteY10" fmla="*/ 0 h 58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578">
                  <a:moveTo>
                    <a:pt x="30670" y="0"/>
                  </a:moveTo>
                  <a:lnTo>
                    <a:pt x="38005" y="22384"/>
                  </a:lnTo>
                  <a:lnTo>
                    <a:pt x="61531" y="22384"/>
                  </a:lnTo>
                  <a:lnTo>
                    <a:pt x="42481" y="36195"/>
                  </a:lnTo>
                  <a:lnTo>
                    <a:pt x="49816" y="58579"/>
                  </a:lnTo>
                  <a:lnTo>
                    <a:pt x="30670" y="44768"/>
                  </a:lnTo>
                  <a:lnTo>
                    <a:pt x="11620" y="58579"/>
                  </a:lnTo>
                  <a:lnTo>
                    <a:pt x="18955" y="36195"/>
                  </a:lnTo>
                  <a:lnTo>
                    <a:pt x="0" y="22384"/>
                  </a:lnTo>
                  <a:lnTo>
                    <a:pt x="23431" y="22384"/>
                  </a:lnTo>
                  <a:lnTo>
                    <a:pt x="30670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68E5D181-3B0E-420A-8054-4516985E584B}"/>
                </a:ext>
              </a:extLst>
            </p:cNvPr>
            <p:cNvSpPr/>
            <p:nvPr/>
          </p:nvSpPr>
          <p:spPr>
            <a:xfrm>
              <a:off x="2990754" y="407275"/>
              <a:ext cx="61531" cy="58578"/>
            </a:xfrm>
            <a:custGeom>
              <a:avLst/>
              <a:gdLst>
                <a:gd name="connsiteX0" fmla="*/ 30861 w 61531"/>
                <a:gd name="connsiteY0" fmla="*/ 0 h 58578"/>
                <a:gd name="connsiteX1" fmla="*/ 38100 w 61531"/>
                <a:gd name="connsiteY1" fmla="*/ 22384 h 58578"/>
                <a:gd name="connsiteX2" fmla="*/ 61531 w 61531"/>
                <a:gd name="connsiteY2" fmla="*/ 22384 h 58578"/>
                <a:gd name="connsiteX3" fmla="*/ 42481 w 61531"/>
                <a:gd name="connsiteY3" fmla="*/ 36195 h 58578"/>
                <a:gd name="connsiteX4" fmla="*/ 49816 w 61531"/>
                <a:gd name="connsiteY4" fmla="*/ 58579 h 58578"/>
                <a:gd name="connsiteX5" fmla="*/ 30861 w 61531"/>
                <a:gd name="connsiteY5" fmla="*/ 44768 h 58578"/>
                <a:gd name="connsiteX6" fmla="*/ 11811 w 61531"/>
                <a:gd name="connsiteY6" fmla="*/ 58579 h 58578"/>
                <a:gd name="connsiteX7" fmla="*/ 19145 w 61531"/>
                <a:gd name="connsiteY7" fmla="*/ 36195 h 58578"/>
                <a:gd name="connsiteX8" fmla="*/ 0 w 61531"/>
                <a:gd name="connsiteY8" fmla="*/ 22384 h 58578"/>
                <a:gd name="connsiteX9" fmla="*/ 23527 w 61531"/>
                <a:gd name="connsiteY9" fmla="*/ 22384 h 58578"/>
                <a:gd name="connsiteX10" fmla="*/ 30861 w 61531"/>
                <a:gd name="connsiteY10" fmla="*/ 0 h 58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578">
                  <a:moveTo>
                    <a:pt x="30861" y="0"/>
                  </a:moveTo>
                  <a:lnTo>
                    <a:pt x="38100" y="22384"/>
                  </a:lnTo>
                  <a:lnTo>
                    <a:pt x="61531" y="22384"/>
                  </a:lnTo>
                  <a:lnTo>
                    <a:pt x="42481" y="36195"/>
                  </a:lnTo>
                  <a:lnTo>
                    <a:pt x="49816" y="58579"/>
                  </a:lnTo>
                  <a:lnTo>
                    <a:pt x="30861" y="44768"/>
                  </a:lnTo>
                  <a:lnTo>
                    <a:pt x="11811" y="58579"/>
                  </a:lnTo>
                  <a:lnTo>
                    <a:pt x="19145" y="36195"/>
                  </a:lnTo>
                  <a:lnTo>
                    <a:pt x="0" y="22384"/>
                  </a:lnTo>
                  <a:lnTo>
                    <a:pt x="23527" y="22384"/>
                  </a:lnTo>
                  <a:lnTo>
                    <a:pt x="30861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FB10BA4C-447A-4472-99C1-F1E7CC7BB119}"/>
                </a:ext>
              </a:extLst>
            </p:cNvPr>
            <p:cNvSpPr/>
            <p:nvPr/>
          </p:nvSpPr>
          <p:spPr>
            <a:xfrm>
              <a:off x="2860071" y="407275"/>
              <a:ext cx="61531" cy="58578"/>
            </a:xfrm>
            <a:custGeom>
              <a:avLst/>
              <a:gdLst>
                <a:gd name="connsiteX0" fmla="*/ 30766 w 61531"/>
                <a:gd name="connsiteY0" fmla="*/ 0 h 58578"/>
                <a:gd name="connsiteX1" fmla="*/ 38005 w 61531"/>
                <a:gd name="connsiteY1" fmla="*/ 22384 h 58578"/>
                <a:gd name="connsiteX2" fmla="*/ 61531 w 61531"/>
                <a:gd name="connsiteY2" fmla="*/ 22384 h 58578"/>
                <a:gd name="connsiteX3" fmla="*/ 42481 w 61531"/>
                <a:gd name="connsiteY3" fmla="*/ 36195 h 58578"/>
                <a:gd name="connsiteX4" fmla="*/ 49816 w 61531"/>
                <a:gd name="connsiteY4" fmla="*/ 58579 h 58578"/>
                <a:gd name="connsiteX5" fmla="*/ 30766 w 61531"/>
                <a:gd name="connsiteY5" fmla="*/ 44768 h 58578"/>
                <a:gd name="connsiteX6" fmla="*/ 11716 w 61531"/>
                <a:gd name="connsiteY6" fmla="*/ 58579 h 58578"/>
                <a:gd name="connsiteX7" fmla="*/ 18955 w 61531"/>
                <a:gd name="connsiteY7" fmla="*/ 36195 h 58578"/>
                <a:gd name="connsiteX8" fmla="*/ 0 w 61531"/>
                <a:gd name="connsiteY8" fmla="*/ 22384 h 58578"/>
                <a:gd name="connsiteX9" fmla="*/ 23527 w 61531"/>
                <a:gd name="connsiteY9" fmla="*/ 22384 h 58578"/>
                <a:gd name="connsiteX10" fmla="*/ 30766 w 61531"/>
                <a:gd name="connsiteY10" fmla="*/ 0 h 58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578">
                  <a:moveTo>
                    <a:pt x="30766" y="0"/>
                  </a:moveTo>
                  <a:lnTo>
                    <a:pt x="38005" y="22384"/>
                  </a:lnTo>
                  <a:lnTo>
                    <a:pt x="61531" y="22384"/>
                  </a:lnTo>
                  <a:lnTo>
                    <a:pt x="42481" y="36195"/>
                  </a:lnTo>
                  <a:lnTo>
                    <a:pt x="49816" y="58579"/>
                  </a:lnTo>
                  <a:lnTo>
                    <a:pt x="30766" y="44768"/>
                  </a:lnTo>
                  <a:lnTo>
                    <a:pt x="11716" y="58579"/>
                  </a:lnTo>
                  <a:lnTo>
                    <a:pt x="18955" y="36195"/>
                  </a:lnTo>
                  <a:lnTo>
                    <a:pt x="0" y="22384"/>
                  </a:lnTo>
                  <a:lnTo>
                    <a:pt x="23527" y="22384"/>
                  </a:lnTo>
                  <a:lnTo>
                    <a:pt x="30766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B1E8EF65-952D-4C43-AEB7-B2232BC6FE10}"/>
                </a:ext>
              </a:extLst>
            </p:cNvPr>
            <p:cNvSpPr/>
            <p:nvPr/>
          </p:nvSpPr>
          <p:spPr>
            <a:xfrm>
              <a:off x="2747676" y="425182"/>
              <a:ext cx="43053" cy="40671"/>
            </a:xfrm>
            <a:custGeom>
              <a:avLst/>
              <a:gdLst>
                <a:gd name="connsiteX0" fmla="*/ 24194 w 43053"/>
                <a:gd name="connsiteY0" fmla="*/ 18288 h 40671"/>
                <a:gd name="connsiteX1" fmla="*/ 31337 w 43053"/>
                <a:gd name="connsiteY1" fmla="*/ 40672 h 40671"/>
                <a:gd name="connsiteX2" fmla="*/ 12287 w 43053"/>
                <a:gd name="connsiteY2" fmla="*/ 26860 h 40671"/>
                <a:gd name="connsiteX3" fmla="*/ 0 w 43053"/>
                <a:gd name="connsiteY3" fmla="*/ 35719 h 40671"/>
                <a:gd name="connsiteX4" fmla="*/ 18098 w 43053"/>
                <a:gd name="connsiteY4" fmla="*/ 0 h 40671"/>
                <a:gd name="connsiteX5" fmla="*/ 19526 w 43053"/>
                <a:gd name="connsiteY5" fmla="*/ 4477 h 40671"/>
                <a:gd name="connsiteX6" fmla="*/ 43053 w 43053"/>
                <a:gd name="connsiteY6" fmla="*/ 4477 h 40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053" h="40671">
                  <a:moveTo>
                    <a:pt x="24194" y="18288"/>
                  </a:moveTo>
                  <a:lnTo>
                    <a:pt x="31337" y="40672"/>
                  </a:lnTo>
                  <a:lnTo>
                    <a:pt x="12287" y="26860"/>
                  </a:lnTo>
                  <a:lnTo>
                    <a:pt x="0" y="35719"/>
                  </a:lnTo>
                  <a:cubicBezTo>
                    <a:pt x="5524" y="23622"/>
                    <a:pt x="11621" y="11525"/>
                    <a:pt x="18098" y="0"/>
                  </a:cubicBezTo>
                  <a:lnTo>
                    <a:pt x="19526" y="4477"/>
                  </a:lnTo>
                  <a:lnTo>
                    <a:pt x="43053" y="4477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6214F0FF-DBF1-4532-8DEF-70F8295EFA6B}"/>
                </a:ext>
              </a:extLst>
            </p:cNvPr>
            <p:cNvSpPr/>
            <p:nvPr/>
          </p:nvSpPr>
          <p:spPr>
            <a:xfrm>
              <a:off x="3121628" y="518431"/>
              <a:ext cx="61531" cy="58483"/>
            </a:xfrm>
            <a:custGeom>
              <a:avLst/>
              <a:gdLst>
                <a:gd name="connsiteX0" fmla="*/ 30670 w 61531"/>
                <a:gd name="connsiteY0" fmla="*/ 0 h 58483"/>
                <a:gd name="connsiteX1" fmla="*/ 38005 w 61531"/>
                <a:gd name="connsiteY1" fmla="*/ 22384 h 58483"/>
                <a:gd name="connsiteX2" fmla="*/ 61531 w 61531"/>
                <a:gd name="connsiteY2" fmla="*/ 22384 h 58483"/>
                <a:gd name="connsiteX3" fmla="*/ 42481 w 61531"/>
                <a:gd name="connsiteY3" fmla="*/ 36290 h 58483"/>
                <a:gd name="connsiteX4" fmla="*/ 49816 w 61531"/>
                <a:gd name="connsiteY4" fmla="*/ 58483 h 58483"/>
                <a:gd name="connsiteX5" fmla="*/ 30670 w 61531"/>
                <a:gd name="connsiteY5" fmla="*/ 44672 h 58483"/>
                <a:gd name="connsiteX6" fmla="*/ 11620 w 61531"/>
                <a:gd name="connsiteY6" fmla="*/ 58483 h 58483"/>
                <a:gd name="connsiteX7" fmla="*/ 18955 w 61531"/>
                <a:gd name="connsiteY7" fmla="*/ 36290 h 58483"/>
                <a:gd name="connsiteX8" fmla="*/ 0 w 61531"/>
                <a:gd name="connsiteY8" fmla="*/ 22384 h 58483"/>
                <a:gd name="connsiteX9" fmla="*/ 23431 w 61531"/>
                <a:gd name="connsiteY9" fmla="*/ 22384 h 58483"/>
                <a:gd name="connsiteX10" fmla="*/ 30670 w 61531"/>
                <a:gd name="connsiteY10" fmla="*/ 0 h 58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483">
                  <a:moveTo>
                    <a:pt x="30670" y="0"/>
                  </a:moveTo>
                  <a:lnTo>
                    <a:pt x="38005" y="22384"/>
                  </a:lnTo>
                  <a:lnTo>
                    <a:pt x="61531" y="22384"/>
                  </a:lnTo>
                  <a:lnTo>
                    <a:pt x="42481" y="36290"/>
                  </a:lnTo>
                  <a:lnTo>
                    <a:pt x="49816" y="58483"/>
                  </a:lnTo>
                  <a:lnTo>
                    <a:pt x="30670" y="44672"/>
                  </a:lnTo>
                  <a:lnTo>
                    <a:pt x="11620" y="58483"/>
                  </a:lnTo>
                  <a:lnTo>
                    <a:pt x="18955" y="36290"/>
                  </a:lnTo>
                  <a:lnTo>
                    <a:pt x="0" y="22384"/>
                  </a:lnTo>
                  <a:lnTo>
                    <a:pt x="23431" y="22384"/>
                  </a:lnTo>
                  <a:lnTo>
                    <a:pt x="30670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01A3FE18-B853-42A9-B7D2-B395CCC14FC8}"/>
                </a:ext>
              </a:extLst>
            </p:cNvPr>
            <p:cNvSpPr/>
            <p:nvPr/>
          </p:nvSpPr>
          <p:spPr>
            <a:xfrm>
              <a:off x="2990754" y="518431"/>
              <a:ext cx="61531" cy="58483"/>
            </a:xfrm>
            <a:custGeom>
              <a:avLst/>
              <a:gdLst>
                <a:gd name="connsiteX0" fmla="*/ 30861 w 61531"/>
                <a:gd name="connsiteY0" fmla="*/ 0 h 58483"/>
                <a:gd name="connsiteX1" fmla="*/ 38100 w 61531"/>
                <a:gd name="connsiteY1" fmla="*/ 22384 h 58483"/>
                <a:gd name="connsiteX2" fmla="*/ 61531 w 61531"/>
                <a:gd name="connsiteY2" fmla="*/ 22384 h 58483"/>
                <a:gd name="connsiteX3" fmla="*/ 42481 w 61531"/>
                <a:gd name="connsiteY3" fmla="*/ 36290 h 58483"/>
                <a:gd name="connsiteX4" fmla="*/ 49816 w 61531"/>
                <a:gd name="connsiteY4" fmla="*/ 58483 h 58483"/>
                <a:gd name="connsiteX5" fmla="*/ 30861 w 61531"/>
                <a:gd name="connsiteY5" fmla="*/ 44672 h 58483"/>
                <a:gd name="connsiteX6" fmla="*/ 11811 w 61531"/>
                <a:gd name="connsiteY6" fmla="*/ 58483 h 58483"/>
                <a:gd name="connsiteX7" fmla="*/ 19145 w 61531"/>
                <a:gd name="connsiteY7" fmla="*/ 36290 h 58483"/>
                <a:gd name="connsiteX8" fmla="*/ 0 w 61531"/>
                <a:gd name="connsiteY8" fmla="*/ 22384 h 58483"/>
                <a:gd name="connsiteX9" fmla="*/ 23527 w 61531"/>
                <a:gd name="connsiteY9" fmla="*/ 22384 h 58483"/>
                <a:gd name="connsiteX10" fmla="*/ 30861 w 61531"/>
                <a:gd name="connsiteY10" fmla="*/ 0 h 58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483">
                  <a:moveTo>
                    <a:pt x="30861" y="0"/>
                  </a:moveTo>
                  <a:lnTo>
                    <a:pt x="38100" y="22384"/>
                  </a:lnTo>
                  <a:lnTo>
                    <a:pt x="61531" y="22384"/>
                  </a:lnTo>
                  <a:lnTo>
                    <a:pt x="42481" y="36290"/>
                  </a:lnTo>
                  <a:lnTo>
                    <a:pt x="49816" y="58483"/>
                  </a:lnTo>
                  <a:lnTo>
                    <a:pt x="30861" y="44672"/>
                  </a:lnTo>
                  <a:lnTo>
                    <a:pt x="11811" y="58483"/>
                  </a:lnTo>
                  <a:lnTo>
                    <a:pt x="19145" y="36290"/>
                  </a:lnTo>
                  <a:lnTo>
                    <a:pt x="0" y="22384"/>
                  </a:lnTo>
                  <a:lnTo>
                    <a:pt x="23527" y="22384"/>
                  </a:lnTo>
                  <a:lnTo>
                    <a:pt x="30861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D3F2ABDA-2976-4547-811C-F1E9F59CF7B6}"/>
                </a:ext>
              </a:extLst>
            </p:cNvPr>
            <p:cNvSpPr/>
            <p:nvPr/>
          </p:nvSpPr>
          <p:spPr>
            <a:xfrm>
              <a:off x="2860071" y="518431"/>
              <a:ext cx="61531" cy="58483"/>
            </a:xfrm>
            <a:custGeom>
              <a:avLst/>
              <a:gdLst>
                <a:gd name="connsiteX0" fmla="*/ 30766 w 61531"/>
                <a:gd name="connsiteY0" fmla="*/ 0 h 58483"/>
                <a:gd name="connsiteX1" fmla="*/ 38005 w 61531"/>
                <a:gd name="connsiteY1" fmla="*/ 22384 h 58483"/>
                <a:gd name="connsiteX2" fmla="*/ 61531 w 61531"/>
                <a:gd name="connsiteY2" fmla="*/ 22384 h 58483"/>
                <a:gd name="connsiteX3" fmla="*/ 42481 w 61531"/>
                <a:gd name="connsiteY3" fmla="*/ 36290 h 58483"/>
                <a:gd name="connsiteX4" fmla="*/ 49816 w 61531"/>
                <a:gd name="connsiteY4" fmla="*/ 58483 h 58483"/>
                <a:gd name="connsiteX5" fmla="*/ 30766 w 61531"/>
                <a:gd name="connsiteY5" fmla="*/ 44672 h 58483"/>
                <a:gd name="connsiteX6" fmla="*/ 11716 w 61531"/>
                <a:gd name="connsiteY6" fmla="*/ 58483 h 58483"/>
                <a:gd name="connsiteX7" fmla="*/ 18955 w 61531"/>
                <a:gd name="connsiteY7" fmla="*/ 36290 h 58483"/>
                <a:gd name="connsiteX8" fmla="*/ 0 w 61531"/>
                <a:gd name="connsiteY8" fmla="*/ 22384 h 58483"/>
                <a:gd name="connsiteX9" fmla="*/ 23527 w 61531"/>
                <a:gd name="connsiteY9" fmla="*/ 22384 h 58483"/>
                <a:gd name="connsiteX10" fmla="*/ 30766 w 61531"/>
                <a:gd name="connsiteY10" fmla="*/ 0 h 58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483">
                  <a:moveTo>
                    <a:pt x="30766" y="0"/>
                  </a:moveTo>
                  <a:lnTo>
                    <a:pt x="38005" y="22384"/>
                  </a:lnTo>
                  <a:lnTo>
                    <a:pt x="61531" y="22384"/>
                  </a:lnTo>
                  <a:lnTo>
                    <a:pt x="42481" y="36290"/>
                  </a:lnTo>
                  <a:lnTo>
                    <a:pt x="49816" y="58483"/>
                  </a:lnTo>
                  <a:lnTo>
                    <a:pt x="30766" y="44672"/>
                  </a:lnTo>
                  <a:lnTo>
                    <a:pt x="11716" y="58483"/>
                  </a:lnTo>
                  <a:lnTo>
                    <a:pt x="18955" y="36290"/>
                  </a:lnTo>
                  <a:lnTo>
                    <a:pt x="0" y="22384"/>
                  </a:lnTo>
                  <a:lnTo>
                    <a:pt x="23527" y="22384"/>
                  </a:lnTo>
                  <a:lnTo>
                    <a:pt x="30766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72554D40-B3AC-4889-ABE3-AEF96013E0F6}"/>
                </a:ext>
              </a:extLst>
            </p:cNvPr>
            <p:cNvSpPr/>
            <p:nvPr/>
          </p:nvSpPr>
          <p:spPr>
            <a:xfrm>
              <a:off x="2729293" y="518431"/>
              <a:ext cx="61531" cy="58483"/>
            </a:xfrm>
            <a:custGeom>
              <a:avLst/>
              <a:gdLst>
                <a:gd name="connsiteX0" fmla="*/ 30766 w 61531"/>
                <a:gd name="connsiteY0" fmla="*/ 0 h 58483"/>
                <a:gd name="connsiteX1" fmla="*/ 38005 w 61531"/>
                <a:gd name="connsiteY1" fmla="*/ 22384 h 58483"/>
                <a:gd name="connsiteX2" fmla="*/ 61531 w 61531"/>
                <a:gd name="connsiteY2" fmla="*/ 22384 h 58483"/>
                <a:gd name="connsiteX3" fmla="*/ 42482 w 61531"/>
                <a:gd name="connsiteY3" fmla="*/ 36290 h 58483"/>
                <a:gd name="connsiteX4" fmla="*/ 49720 w 61531"/>
                <a:gd name="connsiteY4" fmla="*/ 58483 h 58483"/>
                <a:gd name="connsiteX5" fmla="*/ 30766 w 61531"/>
                <a:gd name="connsiteY5" fmla="*/ 44672 h 58483"/>
                <a:gd name="connsiteX6" fmla="*/ 11716 w 61531"/>
                <a:gd name="connsiteY6" fmla="*/ 58483 h 58483"/>
                <a:gd name="connsiteX7" fmla="*/ 19050 w 61531"/>
                <a:gd name="connsiteY7" fmla="*/ 36290 h 58483"/>
                <a:gd name="connsiteX8" fmla="*/ 0 w 61531"/>
                <a:gd name="connsiteY8" fmla="*/ 22384 h 58483"/>
                <a:gd name="connsiteX9" fmla="*/ 23432 w 61531"/>
                <a:gd name="connsiteY9" fmla="*/ 22384 h 58483"/>
                <a:gd name="connsiteX10" fmla="*/ 30766 w 61531"/>
                <a:gd name="connsiteY10" fmla="*/ 0 h 58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483">
                  <a:moveTo>
                    <a:pt x="30766" y="0"/>
                  </a:moveTo>
                  <a:lnTo>
                    <a:pt x="38005" y="22384"/>
                  </a:lnTo>
                  <a:lnTo>
                    <a:pt x="61531" y="22384"/>
                  </a:lnTo>
                  <a:lnTo>
                    <a:pt x="42482" y="36290"/>
                  </a:lnTo>
                  <a:lnTo>
                    <a:pt x="49720" y="58483"/>
                  </a:lnTo>
                  <a:lnTo>
                    <a:pt x="30766" y="44672"/>
                  </a:lnTo>
                  <a:lnTo>
                    <a:pt x="11716" y="58483"/>
                  </a:lnTo>
                  <a:lnTo>
                    <a:pt x="19050" y="36290"/>
                  </a:lnTo>
                  <a:lnTo>
                    <a:pt x="0" y="22384"/>
                  </a:lnTo>
                  <a:lnTo>
                    <a:pt x="23432" y="22384"/>
                  </a:lnTo>
                  <a:lnTo>
                    <a:pt x="30766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A430159E-06CE-4DAD-89C0-6EF02A9AD63C}"/>
                </a:ext>
              </a:extLst>
            </p:cNvPr>
            <p:cNvSpPr/>
            <p:nvPr/>
          </p:nvSpPr>
          <p:spPr>
            <a:xfrm>
              <a:off x="3121628" y="629683"/>
              <a:ext cx="61531" cy="58483"/>
            </a:xfrm>
            <a:custGeom>
              <a:avLst/>
              <a:gdLst>
                <a:gd name="connsiteX0" fmla="*/ 30670 w 61531"/>
                <a:gd name="connsiteY0" fmla="*/ 0 h 58483"/>
                <a:gd name="connsiteX1" fmla="*/ 38005 w 61531"/>
                <a:gd name="connsiteY1" fmla="*/ 22384 h 58483"/>
                <a:gd name="connsiteX2" fmla="*/ 61531 w 61531"/>
                <a:gd name="connsiteY2" fmla="*/ 22384 h 58483"/>
                <a:gd name="connsiteX3" fmla="*/ 42481 w 61531"/>
                <a:gd name="connsiteY3" fmla="*/ 36100 h 58483"/>
                <a:gd name="connsiteX4" fmla="*/ 49816 w 61531"/>
                <a:gd name="connsiteY4" fmla="*/ 58483 h 58483"/>
                <a:gd name="connsiteX5" fmla="*/ 30670 w 61531"/>
                <a:gd name="connsiteY5" fmla="*/ 44672 h 58483"/>
                <a:gd name="connsiteX6" fmla="*/ 11620 w 61531"/>
                <a:gd name="connsiteY6" fmla="*/ 58483 h 58483"/>
                <a:gd name="connsiteX7" fmla="*/ 18955 w 61531"/>
                <a:gd name="connsiteY7" fmla="*/ 36100 h 58483"/>
                <a:gd name="connsiteX8" fmla="*/ 0 w 61531"/>
                <a:gd name="connsiteY8" fmla="*/ 22384 h 58483"/>
                <a:gd name="connsiteX9" fmla="*/ 23431 w 61531"/>
                <a:gd name="connsiteY9" fmla="*/ 22384 h 58483"/>
                <a:gd name="connsiteX10" fmla="*/ 30670 w 61531"/>
                <a:gd name="connsiteY10" fmla="*/ 0 h 58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483">
                  <a:moveTo>
                    <a:pt x="30670" y="0"/>
                  </a:moveTo>
                  <a:lnTo>
                    <a:pt x="38005" y="22384"/>
                  </a:lnTo>
                  <a:lnTo>
                    <a:pt x="61531" y="22384"/>
                  </a:lnTo>
                  <a:lnTo>
                    <a:pt x="42481" y="36100"/>
                  </a:lnTo>
                  <a:lnTo>
                    <a:pt x="49816" y="58483"/>
                  </a:lnTo>
                  <a:lnTo>
                    <a:pt x="30670" y="44672"/>
                  </a:lnTo>
                  <a:lnTo>
                    <a:pt x="11620" y="58483"/>
                  </a:lnTo>
                  <a:lnTo>
                    <a:pt x="18955" y="36100"/>
                  </a:lnTo>
                  <a:lnTo>
                    <a:pt x="0" y="22384"/>
                  </a:lnTo>
                  <a:lnTo>
                    <a:pt x="23431" y="22384"/>
                  </a:lnTo>
                  <a:lnTo>
                    <a:pt x="30670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E12748CF-0288-41FF-9856-439C0EDB56AC}"/>
                </a:ext>
              </a:extLst>
            </p:cNvPr>
            <p:cNvSpPr/>
            <p:nvPr/>
          </p:nvSpPr>
          <p:spPr>
            <a:xfrm>
              <a:off x="2990754" y="629683"/>
              <a:ext cx="61531" cy="58483"/>
            </a:xfrm>
            <a:custGeom>
              <a:avLst/>
              <a:gdLst>
                <a:gd name="connsiteX0" fmla="*/ 30861 w 61531"/>
                <a:gd name="connsiteY0" fmla="*/ 0 h 58483"/>
                <a:gd name="connsiteX1" fmla="*/ 38100 w 61531"/>
                <a:gd name="connsiteY1" fmla="*/ 22384 h 58483"/>
                <a:gd name="connsiteX2" fmla="*/ 61531 w 61531"/>
                <a:gd name="connsiteY2" fmla="*/ 22384 h 58483"/>
                <a:gd name="connsiteX3" fmla="*/ 42481 w 61531"/>
                <a:gd name="connsiteY3" fmla="*/ 36100 h 58483"/>
                <a:gd name="connsiteX4" fmla="*/ 49816 w 61531"/>
                <a:gd name="connsiteY4" fmla="*/ 58483 h 58483"/>
                <a:gd name="connsiteX5" fmla="*/ 30861 w 61531"/>
                <a:gd name="connsiteY5" fmla="*/ 44672 h 58483"/>
                <a:gd name="connsiteX6" fmla="*/ 11811 w 61531"/>
                <a:gd name="connsiteY6" fmla="*/ 58483 h 58483"/>
                <a:gd name="connsiteX7" fmla="*/ 19145 w 61531"/>
                <a:gd name="connsiteY7" fmla="*/ 36100 h 58483"/>
                <a:gd name="connsiteX8" fmla="*/ 0 w 61531"/>
                <a:gd name="connsiteY8" fmla="*/ 22384 h 58483"/>
                <a:gd name="connsiteX9" fmla="*/ 23527 w 61531"/>
                <a:gd name="connsiteY9" fmla="*/ 22384 h 58483"/>
                <a:gd name="connsiteX10" fmla="*/ 30861 w 61531"/>
                <a:gd name="connsiteY10" fmla="*/ 0 h 58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483">
                  <a:moveTo>
                    <a:pt x="30861" y="0"/>
                  </a:moveTo>
                  <a:lnTo>
                    <a:pt x="38100" y="22384"/>
                  </a:lnTo>
                  <a:lnTo>
                    <a:pt x="61531" y="22384"/>
                  </a:lnTo>
                  <a:lnTo>
                    <a:pt x="42481" y="36100"/>
                  </a:lnTo>
                  <a:lnTo>
                    <a:pt x="49816" y="58483"/>
                  </a:lnTo>
                  <a:lnTo>
                    <a:pt x="30861" y="44672"/>
                  </a:lnTo>
                  <a:lnTo>
                    <a:pt x="11811" y="58483"/>
                  </a:lnTo>
                  <a:lnTo>
                    <a:pt x="19145" y="36100"/>
                  </a:lnTo>
                  <a:lnTo>
                    <a:pt x="0" y="22384"/>
                  </a:lnTo>
                  <a:lnTo>
                    <a:pt x="23527" y="22384"/>
                  </a:lnTo>
                  <a:lnTo>
                    <a:pt x="30861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EFFD1C5C-AABE-4FB2-A070-B5690D947C2B}"/>
                </a:ext>
              </a:extLst>
            </p:cNvPr>
            <p:cNvSpPr/>
            <p:nvPr/>
          </p:nvSpPr>
          <p:spPr>
            <a:xfrm>
              <a:off x="2860071" y="629683"/>
              <a:ext cx="61531" cy="58483"/>
            </a:xfrm>
            <a:custGeom>
              <a:avLst/>
              <a:gdLst>
                <a:gd name="connsiteX0" fmla="*/ 30766 w 61531"/>
                <a:gd name="connsiteY0" fmla="*/ 0 h 58483"/>
                <a:gd name="connsiteX1" fmla="*/ 38005 w 61531"/>
                <a:gd name="connsiteY1" fmla="*/ 22384 h 58483"/>
                <a:gd name="connsiteX2" fmla="*/ 61531 w 61531"/>
                <a:gd name="connsiteY2" fmla="*/ 22384 h 58483"/>
                <a:gd name="connsiteX3" fmla="*/ 42481 w 61531"/>
                <a:gd name="connsiteY3" fmla="*/ 36100 h 58483"/>
                <a:gd name="connsiteX4" fmla="*/ 49816 w 61531"/>
                <a:gd name="connsiteY4" fmla="*/ 58483 h 58483"/>
                <a:gd name="connsiteX5" fmla="*/ 30766 w 61531"/>
                <a:gd name="connsiteY5" fmla="*/ 44672 h 58483"/>
                <a:gd name="connsiteX6" fmla="*/ 11716 w 61531"/>
                <a:gd name="connsiteY6" fmla="*/ 58483 h 58483"/>
                <a:gd name="connsiteX7" fmla="*/ 18955 w 61531"/>
                <a:gd name="connsiteY7" fmla="*/ 36100 h 58483"/>
                <a:gd name="connsiteX8" fmla="*/ 0 w 61531"/>
                <a:gd name="connsiteY8" fmla="*/ 22384 h 58483"/>
                <a:gd name="connsiteX9" fmla="*/ 23527 w 61531"/>
                <a:gd name="connsiteY9" fmla="*/ 22384 h 58483"/>
                <a:gd name="connsiteX10" fmla="*/ 30766 w 61531"/>
                <a:gd name="connsiteY10" fmla="*/ 0 h 58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483">
                  <a:moveTo>
                    <a:pt x="30766" y="0"/>
                  </a:moveTo>
                  <a:lnTo>
                    <a:pt x="38005" y="22384"/>
                  </a:lnTo>
                  <a:lnTo>
                    <a:pt x="61531" y="22384"/>
                  </a:lnTo>
                  <a:lnTo>
                    <a:pt x="42481" y="36100"/>
                  </a:lnTo>
                  <a:lnTo>
                    <a:pt x="49816" y="58483"/>
                  </a:lnTo>
                  <a:lnTo>
                    <a:pt x="30766" y="44672"/>
                  </a:lnTo>
                  <a:lnTo>
                    <a:pt x="11716" y="58483"/>
                  </a:lnTo>
                  <a:lnTo>
                    <a:pt x="18955" y="36100"/>
                  </a:lnTo>
                  <a:lnTo>
                    <a:pt x="0" y="22384"/>
                  </a:lnTo>
                  <a:lnTo>
                    <a:pt x="23527" y="22384"/>
                  </a:lnTo>
                  <a:lnTo>
                    <a:pt x="30766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1E974760-1662-4372-9609-0C73E77CCC21}"/>
                </a:ext>
              </a:extLst>
            </p:cNvPr>
            <p:cNvSpPr/>
            <p:nvPr/>
          </p:nvSpPr>
          <p:spPr>
            <a:xfrm>
              <a:off x="2729293" y="629683"/>
              <a:ext cx="61531" cy="58483"/>
            </a:xfrm>
            <a:custGeom>
              <a:avLst/>
              <a:gdLst>
                <a:gd name="connsiteX0" fmla="*/ 30766 w 61531"/>
                <a:gd name="connsiteY0" fmla="*/ 0 h 58483"/>
                <a:gd name="connsiteX1" fmla="*/ 38005 w 61531"/>
                <a:gd name="connsiteY1" fmla="*/ 22384 h 58483"/>
                <a:gd name="connsiteX2" fmla="*/ 61531 w 61531"/>
                <a:gd name="connsiteY2" fmla="*/ 22384 h 58483"/>
                <a:gd name="connsiteX3" fmla="*/ 42482 w 61531"/>
                <a:gd name="connsiteY3" fmla="*/ 36100 h 58483"/>
                <a:gd name="connsiteX4" fmla="*/ 49720 w 61531"/>
                <a:gd name="connsiteY4" fmla="*/ 58483 h 58483"/>
                <a:gd name="connsiteX5" fmla="*/ 30766 w 61531"/>
                <a:gd name="connsiteY5" fmla="*/ 44672 h 58483"/>
                <a:gd name="connsiteX6" fmla="*/ 11716 w 61531"/>
                <a:gd name="connsiteY6" fmla="*/ 58483 h 58483"/>
                <a:gd name="connsiteX7" fmla="*/ 19050 w 61531"/>
                <a:gd name="connsiteY7" fmla="*/ 36100 h 58483"/>
                <a:gd name="connsiteX8" fmla="*/ 0 w 61531"/>
                <a:gd name="connsiteY8" fmla="*/ 22384 h 58483"/>
                <a:gd name="connsiteX9" fmla="*/ 23432 w 61531"/>
                <a:gd name="connsiteY9" fmla="*/ 22384 h 58483"/>
                <a:gd name="connsiteX10" fmla="*/ 30766 w 61531"/>
                <a:gd name="connsiteY10" fmla="*/ 0 h 58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483">
                  <a:moveTo>
                    <a:pt x="30766" y="0"/>
                  </a:moveTo>
                  <a:lnTo>
                    <a:pt x="38005" y="22384"/>
                  </a:lnTo>
                  <a:lnTo>
                    <a:pt x="61531" y="22384"/>
                  </a:lnTo>
                  <a:lnTo>
                    <a:pt x="42482" y="36100"/>
                  </a:lnTo>
                  <a:lnTo>
                    <a:pt x="49720" y="58483"/>
                  </a:lnTo>
                  <a:lnTo>
                    <a:pt x="30766" y="44672"/>
                  </a:lnTo>
                  <a:lnTo>
                    <a:pt x="11716" y="58483"/>
                  </a:lnTo>
                  <a:lnTo>
                    <a:pt x="19050" y="36100"/>
                  </a:lnTo>
                  <a:lnTo>
                    <a:pt x="0" y="22384"/>
                  </a:lnTo>
                  <a:lnTo>
                    <a:pt x="23432" y="22384"/>
                  </a:lnTo>
                  <a:lnTo>
                    <a:pt x="30766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B82EB40C-C8E4-48E5-BF17-BB1AA89BAC0A}"/>
                </a:ext>
              </a:extLst>
            </p:cNvPr>
            <p:cNvSpPr/>
            <p:nvPr/>
          </p:nvSpPr>
          <p:spPr>
            <a:xfrm>
              <a:off x="3056191" y="574057"/>
              <a:ext cx="61531" cy="58483"/>
            </a:xfrm>
            <a:custGeom>
              <a:avLst/>
              <a:gdLst>
                <a:gd name="connsiteX0" fmla="*/ 30766 w 61531"/>
                <a:gd name="connsiteY0" fmla="*/ 0 h 58483"/>
                <a:gd name="connsiteX1" fmla="*/ 38100 w 61531"/>
                <a:gd name="connsiteY1" fmla="*/ 22384 h 58483"/>
                <a:gd name="connsiteX2" fmla="*/ 61532 w 61531"/>
                <a:gd name="connsiteY2" fmla="*/ 22384 h 58483"/>
                <a:gd name="connsiteX3" fmla="*/ 42577 w 61531"/>
                <a:gd name="connsiteY3" fmla="*/ 36100 h 58483"/>
                <a:gd name="connsiteX4" fmla="*/ 49721 w 61531"/>
                <a:gd name="connsiteY4" fmla="*/ 58483 h 58483"/>
                <a:gd name="connsiteX5" fmla="*/ 30766 w 61531"/>
                <a:gd name="connsiteY5" fmla="*/ 44672 h 58483"/>
                <a:gd name="connsiteX6" fmla="*/ 11716 w 61531"/>
                <a:gd name="connsiteY6" fmla="*/ 58483 h 58483"/>
                <a:gd name="connsiteX7" fmla="*/ 19050 w 61531"/>
                <a:gd name="connsiteY7" fmla="*/ 36100 h 58483"/>
                <a:gd name="connsiteX8" fmla="*/ 0 w 61531"/>
                <a:gd name="connsiteY8" fmla="*/ 22384 h 58483"/>
                <a:gd name="connsiteX9" fmla="*/ 23527 w 61531"/>
                <a:gd name="connsiteY9" fmla="*/ 22384 h 58483"/>
                <a:gd name="connsiteX10" fmla="*/ 30766 w 61531"/>
                <a:gd name="connsiteY10" fmla="*/ 0 h 58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483">
                  <a:moveTo>
                    <a:pt x="30766" y="0"/>
                  </a:moveTo>
                  <a:lnTo>
                    <a:pt x="38100" y="22384"/>
                  </a:lnTo>
                  <a:lnTo>
                    <a:pt x="61532" y="22384"/>
                  </a:lnTo>
                  <a:lnTo>
                    <a:pt x="42577" y="36100"/>
                  </a:lnTo>
                  <a:lnTo>
                    <a:pt x="49721" y="58483"/>
                  </a:lnTo>
                  <a:lnTo>
                    <a:pt x="30766" y="44672"/>
                  </a:lnTo>
                  <a:lnTo>
                    <a:pt x="11716" y="58483"/>
                  </a:lnTo>
                  <a:lnTo>
                    <a:pt x="19050" y="36100"/>
                  </a:lnTo>
                  <a:lnTo>
                    <a:pt x="0" y="22384"/>
                  </a:lnTo>
                  <a:lnTo>
                    <a:pt x="23527" y="22384"/>
                  </a:lnTo>
                  <a:lnTo>
                    <a:pt x="30766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B8895C40-60BE-46C6-AE87-6FB8990E4882}"/>
                </a:ext>
              </a:extLst>
            </p:cNvPr>
            <p:cNvSpPr/>
            <p:nvPr/>
          </p:nvSpPr>
          <p:spPr>
            <a:xfrm>
              <a:off x="2925413" y="574057"/>
              <a:ext cx="61531" cy="58483"/>
            </a:xfrm>
            <a:custGeom>
              <a:avLst/>
              <a:gdLst>
                <a:gd name="connsiteX0" fmla="*/ 30861 w 61531"/>
                <a:gd name="connsiteY0" fmla="*/ 0 h 58483"/>
                <a:gd name="connsiteX1" fmla="*/ 38005 w 61531"/>
                <a:gd name="connsiteY1" fmla="*/ 22384 h 58483"/>
                <a:gd name="connsiteX2" fmla="*/ 61531 w 61531"/>
                <a:gd name="connsiteY2" fmla="*/ 22384 h 58483"/>
                <a:gd name="connsiteX3" fmla="*/ 42481 w 61531"/>
                <a:gd name="connsiteY3" fmla="*/ 36100 h 58483"/>
                <a:gd name="connsiteX4" fmla="*/ 49816 w 61531"/>
                <a:gd name="connsiteY4" fmla="*/ 58483 h 58483"/>
                <a:gd name="connsiteX5" fmla="*/ 30861 w 61531"/>
                <a:gd name="connsiteY5" fmla="*/ 44672 h 58483"/>
                <a:gd name="connsiteX6" fmla="*/ 11811 w 61531"/>
                <a:gd name="connsiteY6" fmla="*/ 58483 h 58483"/>
                <a:gd name="connsiteX7" fmla="*/ 18955 w 61531"/>
                <a:gd name="connsiteY7" fmla="*/ 36100 h 58483"/>
                <a:gd name="connsiteX8" fmla="*/ 0 w 61531"/>
                <a:gd name="connsiteY8" fmla="*/ 22384 h 58483"/>
                <a:gd name="connsiteX9" fmla="*/ 23527 w 61531"/>
                <a:gd name="connsiteY9" fmla="*/ 22384 h 58483"/>
                <a:gd name="connsiteX10" fmla="*/ 30861 w 61531"/>
                <a:gd name="connsiteY10" fmla="*/ 0 h 58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483">
                  <a:moveTo>
                    <a:pt x="30861" y="0"/>
                  </a:moveTo>
                  <a:lnTo>
                    <a:pt x="38005" y="22384"/>
                  </a:lnTo>
                  <a:lnTo>
                    <a:pt x="61531" y="22384"/>
                  </a:lnTo>
                  <a:lnTo>
                    <a:pt x="42481" y="36100"/>
                  </a:lnTo>
                  <a:lnTo>
                    <a:pt x="49816" y="58483"/>
                  </a:lnTo>
                  <a:lnTo>
                    <a:pt x="30861" y="44672"/>
                  </a:lnTo>
                  <a:lnTo>
                    <a:pt x="11811" y="58483"/>
                  </a:lnTo>
                  <a:lnTo>
                    <a:pt x="18955" y="36100"/>
                  </a:lnTo>
                  <a:lnTo>
                    <a:pt x="0" y="22384"/>
                  </a:lnTo>
                  <a:lnTo>
                    <a:pt x="23527" y="22384"/>
                  </a:lnTo>
                  <a:lnTo>
                    <a:pt x="30861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12AEA280-369B-4459-87F3-20FB171B7F6A}"/>
                </a:ext>
              </a:extLst>
            </p:cNvPr>
            <p:cNvSpPr/>
            <p:nvPr/>
          </p:nvSpPr>
          <p:spPr>
            <a:xfrm>
              <a:off x="2794730" y="574057"/>
              <a:ext cx="61531" cy="58483"/>
            </a:xfrm>
            <a:custGeom>
              <a:avLst/>
              <a:gdLst>
                <a:gd name="connsiteX0" fmla="*/ 30670 w 61531"/>
                <a:gd name="connsiteY0" fmla="*/ 0 h 58483"/>
                <a:gd name="connsiteX1" fmla="*/ 38005 w 61531"/>
                <a:gd name="connsiteY1" fmla="*/ 22384 h 58483"/>
                <a:gd name="connsiteX2" fmla="*/ 61532 w 61531"/>
                <a:gd name="connsiteY2" fmla="*/ 22384 h 58483"/>
                <a:gd name="connsiteX3" fmla="*/ 42482 w 61531"/>
                <a:gd name="connsiteY3" fmla="*/ 36100 h 58483"/>
                <a:gd name="connsiteX4" fmla="*/ 49720 w 61531"/>
                <a:gd name="connsiteY4" fmla="*/ 58483 h 58483"/>
                <a:gd name="connsiteX5" fmla="*/ 30670 w 61531"/>
                <a:gd name="connsiteY5" fmla="*/ 44672 h 58483"/>
                <a:gd name="connsiteX6" fmla="*/ 11620 w 61531"/>
                <a:gd name="connsiteY6" fmla="*/ 58483 h 58483"/>
                <a:gd name="connsiteX7" fmla="*/ 18955 w 61531"/>
                <a:gd name="connsiteY7" fmla="*/ 36100 h 58483"/>
                <a:gd name="connsiteX8" fmla="*/ 0 w 61531"/>
                <a:gd name="connsiteY8" fmla="*/ 22384 h 58483"/>
                <a:gd name="connsiteX9" fmla="*/ 23527 w 61531"/>
                <a:gd name="connsiteY9" fmla="*/ 22384 h 58483"/>
                <a:gd name="connsiteX10" fmla="*/ 30670 w 61531"/>
                <a:gd name="connsiteY10" fmla="*/ 0 h 58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483">
                  <a:moveTo>
                    <a:pt x="30670" y="0"/>
                  </a:moveTo>
                  <a:lnTo>
                    <a:pt x="38005" y="22384"/>
                  </a:lnTo>
                  <a:lnTo>
                    <a:pt x="61532" y="22384"/>
                  </a:lnTo>
                  <a:lnTo>
                    <a:pt x="42482" y="36100"/>
                  </a:lnTo>
                  <a:lnTo>
                    <a:pt x="49720" y="58483"/>
                  </a:lnTo>
                  <a:lnTo>
                    <a:pt x="30670" y="44672"/>
                  </a:lnTo>
                  <a:lnTo>
                    <a:pt x="11620" y="58483"/>
                  </a:lnTo>
                  <a:lnTo>
                    <a:pt x="18955" y="36100"/>
                  </a:lnTo>
                  <a:lnTo>
                    <a:pt x="0" y="22384"/>
                  </a:lnTo>
                  <a:lnTo>
                    <a:pt x="23527" y="22384"/>
                  </a:lnTo>
                  <a:lnTo>
                    <a:pt x="30670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027270B0-81BE-4443-94DB-A563B0324643}"/>
                </a:ext>
              </a:extLst>
            </p:cNvPr>
            <p:cNvSpPr/>
            <p:nvPr/>
          </p:nvSpPr>
          <p:spPr>
            <a:xfrm>
              <a:off x="2703766" y="596537"/>
              <a:ext cx="21621" cy="36004"/>
            </a:xfrm>
            <a:custGeom>
              <a:avLst/>
              <a:gdLst>
                <a:gd name="connsiteX0" fmla="*/ 2667 w 21621"/>
                <a:gd name="connsiteY0" fmla="*/ 13621 h 36004"/>
                <a:gd name="connsiteX1" fmla="*/ 9906 w 21621"/>
                <a:gd name="connsiteY1" fmla="*/ 36004 h 36004"/>
                <a:gd name="connsiteX2" fmla="*/ 0 w 21621"/>
                <a:gd name="connsiteY2" fmla="*/ 28575 h 36004"/>
                <a:gd name="connsiteX3" fmla="*/ 3429 w 21621"/>
                <a:gd name="connsiteY3" fmla="*/ 0 h 36004"/>
                <a:gd name="connsiteX4" fmla="*/ 21622 w 21621"/>
                <a:gd name="connsiteY4" fmla="*/ 0 h 36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21" h="36004">
                  <a:moveTo>
                    <a:pt x="2667" y="13621"/>
                  </a:moveTo>
                  <a:lnTo>
                    <a:pt x="9906" y="36004"/>
                  </a:lnTo>
                  <a:lnTo>
                    <a:pt x="0" y="28575"/>
                  </a:lnTo>
                  <a:cubicBezTo>
                    <a:pt x="762" y="19050"/>
                    <a:pt x="2000" y="9525"/>
                    <a:pt x="3429" y="0"/>
                  </a:cubicBezTo>
                  <a:lnTo>
                    <a:pt x="21622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0E9679FD-99CD-4FD8-B3CA-8B550110F324}"/>
                </a:ext>
              </a:extLst>
            </p:cNvPr>
            <p:cNvSpPr/>
            <p:nvPr/>
          </p:nvSpPr>
          <p:spPr>
            <a:xfrm>
              <a:off x="3056191" y="462901"/>
              <a:ext cx="61531" cy="58578"/>
            </a:xfrm>
            <a:custGeom>
              <a:avLst/>
              <a:gdLst>
                <a:gd name="connsiteX0" fmla="*/ 30766 w 61531"/>
                <a:gd name="connsiteY0" fmla="*/ 0 h 58578"/>
                <a:gd name="connsiteX1" fmla="*/ 38100 w 61531"/>
                <a:gd name="connsiteY1" fmla="*/ 22384 h 58578"/>
                <a:gd name="connsiteX2" fmla="*/ 61532 w 61531"/>
                <a:gd name="connsiteY2" fmla="*/ 22384 h 58578"/>
                <a:gd name="connsiteX3" fmla="*/ 42577 w 61531"/>
                <a:gd name="connsiteY3" fmla="*/ 36195 h 58578"/>
                <a:gd name="connsiteX4" fmla="*/ 49721 w 61531"/>
                <a:gd name="connsiteY4" fmla="*/ 58579 h 58578"/>
                <a:gd name="connsiteX5" fmla="*/ 30766 w 61531"/>
                <a:gd name="connsiteY5" fmla="*/ 44672 h 58578"/>
                <a:gd name="connsiteX6" fmla="*/ 11716 w 61531"/>
                <a:gd name="connsiteY6" fmla="*/ 58579 h 58578"/>
                <a:gd name="connsiteX7" fmla="*/ 19050 w 61531"/>
                <a:gd name="connsiteY7" fmla="*/ 36195 h 58578"/>
                <a:gd name="connsiteX8" fmla="*/ 0 w 61531"/>
                <a:gd name="connsiteY8" fmla="*/ 22384 h 58578"/>
                <a:gd name="connsiteX9" fmla="*/ 23527 w 61531"/>
                <a:gd name="connsiteY9" fmla="*/ 22384 h 58578"/>
                <a:gd name="connsiteX10" fmla="*/ 30766 w 61531"/>
                <a:gd name="connsiteY10" fmla="*/ 0 h 58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578">
                  <a:moveTo>
                    <a:pt x="30766" y="0"/>
                  </a:moveTo>
                  <a:lnTo>
                    <a:pt x="38100" y="22384"/>
                  </a:lnTo>
                  <a:lnTo>
                    <a:pt x="61532" y="22384"/>
                  </a:lnTo>
                  <a:lnTo>
                    <a:pt x="42577" y="36195"/>
                  </a:lnTo>
                  <a:lnTo>
                    <a:pt x="49721" y="58579"/>
                  </a:lnTo>
                  <a:lnTo>
                    <a:pt x="30766" y="44672"/>
                  </a:lnTo>
                  <a:lnTo>
                    <a:pt x="11716" y="58579"/>
                  </a:lnTo>
                  <a:lnTo>
                    <a:pt x="19050" y="36195"/>
                  </a:lnTo>
                  <a:lnTo>
                    <a:pt x="0" y="22384"/>
                  </a:lnTo>
                  <a:lnTo>
                    <a:pt x="23527" y="22384"/>
                  </a:lnTo>
                  <a:lnTo>
                    <a:pt x="30766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4EEB7A8F-3019-4D08-B043-BC8C70CC1703}"/>
                </a:ext>
              </a:extLst>
            </p:cNvPr>
            <p:cNvSpPr/>
            <p:nvPr/>
          </p:nvSpPr>
          <p:spPr>
            <a:xfrm>
              <a:off x="2925413" y="462901"/>
              <a:ext cx="61531" cy="58578"/>
            </a:xfrm>
            <a:custGeom>
              <a:avLst/>
              <a:gdLst>
                <a:gd name="connsiteX0" fmla="*/ 30861 w 61531"/>
                <a:gd name="connsiteY0" fmla="*/ 0 h 58578"/>
                <a:gd name="connsiteX1" fmla="*/ 38005 w 61531"/>
                <a:gd name="connsiteY1" fmla="*/ 22384 h 58578"/>
                <a:gd name="connsiteX2" fmla="*/ 61531 w 61531"/>
                <a:gd name="connsiteY2" fmla="*/ 22384 h 58578"/>
                <a:gd name="connsiteX3" fmla="*/ 42481 w 61531"/>
                <a:gd name="connsiteY3" fmla="*/ 36195 h 58578"/>
                <a:gd name="connsiteX4" fmla="*/ 49816 w 61531"/>
                <a:gd name="connsiteY4" fmla="*/ 58579 h 58578"/>
                <a:gd name="connsiteX5" fmla="*/ 30861 w 61531"/>
                <a:gd name="connsiteY5" fmla="*/ 44672 h 58578"/>
                <a:gd name="connsiteX6" fmla="*/ 11811 w 61531"/>
                <a:gd name="connsiteY6" fmla="*/ 58579 h 58578"/>
                <a:gd name="connsiteX7" fmla="*/ 18955 w 61531"/>
                <a:gd name="connsiteY7" fmla="*/ 36195 h 58578"/>
                <a:gd name="connsiteX8" fmla="*/ 0 w 61531"/>
                <a:gd name="connsiteY8" fmla="*/ 22384 h 58578"/>
                <a:gd name="connsiteX9" fmla="*/ 23527 w 61531"/>
                <a:gd name="connsiteY9" fmla="*/ 22384 h 58578"/>
                <a:gd name="connsiteX10" fmla="*/ 30861 w 61531"/>
                <a:gd name="connsiteY10" fmla="*/ 0 h 58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578">
                  <a:moveTo>
                    <a:pt x="30861" y="0"/>
                  </a:moveTo>
                  <a:lnTo>
                    <a:pt x="38005" y="22384"/>
                  </a:lnTo>
                  <a:lnTo>
                    <a:pt x="61531" y="22384"/>
                  </a:lnTo>
                  <a:lnTo>
                    <a:pt x="42481" y="36195"/>
                  </a:lnTo>
                  <a:lnTo>
                    <a:pt x="49816" y="58579"/>
                  </a:lnTo>
                  <a:lnTo>
                    <a:pt x="30861" y="44672"/>
                  </a:lnTo>
                  <a:lnTo>
                    <a:pt x="11811" y="58579"/>
                  </a:lnTo>
                  <a:lnTo>
                    <a:pt x="18955" y="36195"/>
                  </a:lnTo>
                  <a:lnTo>
                    <a:pt x="0" y="22384"/>
                  </a:lnTo>
                  <a:lnTo>
                    <a:pt x="23527" y="22384"/>
                  </a:lnTo>
                  <a:lnTo>
                    <a:pt x="30861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A35E676B-994A-42F6-B450-9F57BE9326A9}"/>
                </a:ext>
              </a:extLst>
            </p:cNvPr>
            <p:cNvSpPr/>
            <p:nvPr/>
          </p:nvSpPr>
          <p:spPr>
            <a:xfrm>
              <a:off x="2794730" y="462901"/>
              <a:ext cx="61531" cy="58578"/>
            </a:xfrm>
            <a:custGeom>
              <a:avLst/>
              <a:gdLst>
                <a:gd name="connsiteX0" fmla="*/ 30670 w 61531"/>
                <a:gd name="connsiteY0" fmla="*/ 0 h 58578"/>
                <a:gd name="connsiteX1" fmla="*/ 38005 w 61531"/>
                <a:gd name="connsiteY1" fmla="*/ 22384 h 58578"/>
                <a:gd name="connsiteX2" fmla="*/ 61532 w 61531"/>
                <a:gd name="connsiteY2" fmla="*/ 22384 h 58578"/>
                <a:gd name="connsiteX3" fmla="*/ 42482 w 61531"/>
                <a:gd name="connsiteY3" fmla="*/ 36195 h 58578"/>
                <a:gd name="connsiteX4" fmla="*/ 49720 w 61531"/>
                <a:gd name="connsiteY4" fmla="*/ 58579 h 58578"/>
                <a:gd name="connsiteX5" fmla="*/ 30670 w 61531"/>
                <a:gd name="connsiteY5" fmla="*/ 44672 h 58578"/>
                <a:gd name="connsiteX6" fmla="*/ 11620 w 61531"/>
                <a:gd name="connsiteY6" fmla="*/ 58579 h 58578"/>
                <a:gd name="connsiteX7" fmla="*/ 18955 w 61531"/>
                <a:gd name="connsiteY7" fmla="*/ 36195 h 58578"/>
                <a:gd name="connsiteX8" fmla="*/ 0 w 61531"/>
                <a:gd name="connsiteY8" fmla="*/ 22384 h 58578"/>
                <a:gd name="connsiteX9" fmla="*/ 23527 w 61531"/>
                <a:gd name="connsiteY9" fmla="*/ 22384 h 58578"/>
                <a:gd name="connsiteX10" fmla="*/ 30670 w 61531"/>
                <a:gd name="connsiteY10" fmla="*/ 0 h 58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578">
                  <a:moveTo>
                    <a:pt x="30670" y="0"/>
                  </a:moveTo>
                  <a:lnTo>
                    <a:pt x="38005" y="22384"/>
                  </a:lnTo>
                  <a:lnTo>
                    <a:pt x="61532" y="22384"/>
                  </a:lnTo>
                  <a:lnTo>
                    <a:pt x="42482" y="36195"/>
                  </a:lnTo>
                  <a:lnTo>
                    <a:pt x="49720" y="58579"/>
                  </a:lnTo>
                  <a:lnTo>
                    <a:pt x="30670" y="44672"/>
                  </a:lnTo>
                  <a:lnTo>
                    <a:pt x="11620" y="58579"/>
                  </a:lnTo>
                  <a:lnTo>
                    <a:pt x="18955" y="36195"/>
                  </a:lnTo>
                  <a:lnTo>
                    <a:pt x="0" y="22384"/>
                  </a:lnTo>
                  <a:lnTo>
                    <a:pt x="23527" y="22384"/>
                  </a:lnTo>
                  <a:lnTo>
                    <a:pt x="30670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7D2ACBC7-D7F3-44D8-AE55-DA98B4500B9F}"/>
                </a:ext>
              </a:extLst>
            </p:cNvPr>
            <p:cNvSpPr/>
            <p:nvPr/>
          </p:nvSpPr>
          <p:spPr>
            <a:xfrm>
              <a:off x="3056191" y="351649"/>
              <a:ext cx="61531" cy="58578"/>
            </a:xfrm>
            <a:custGeom>
              <a:avLst/>
              <a:gdLst>
                <a:gd name="connsiteX0" fmla="*/ 30766 w 61531"/>
                <a:gd name="connsiteY0" fmla="*/ 0 h 58578"/>
                <a:gd name="connsiteX1" fmla="*/ 38100 w 61531"/>
                <a:gd name="connsiteY1" fmla="*/ 22384 h 58578"/>
                <a:gd name="connsiteX2" fmla="*/ 61532 w 61531"/>
                <a:gd name="connsiteY2" fmla="*/ 22384 h 58578"/>
                <a:gd name="connsiteX3" fmla="*/ 42577 w 61531"/>
                <a:gd name="connsiteY3" fmla="*/ 36195 h 58578"/>
                <a:gd name="connsiteX4" fmla="*/ 49721 w 61531"/>
                <a:gd name="connsiteY4" fmla="*/ 58579 h 58578"/>
                <a:gd name="connsiteX5" fmla="*/ 30766 w 61531"/>
                <a:gd name="connsiteY5" fmla="*/ 44767 h 58578"/>
                <a:gd name="connsiteX6" fmla="*/ 11716 w 61531"/>
                <a:gd name="connsiteY6" fmla="*/ 58579 h 58578"/>
                <a:gd name="connsiteX7" fmla="*/ 19050 w 61531"/>
                <a:gd name="connsiteY7" fmla="*/ 36195 h 58578"/>
                <a:gd name="connsiteX8" fmla="*/ 0 w 61531"/>
                <a:gd name="connsiteY8" fmla="*/ 22384 h 58578"/>
                <a:gd name="connsiteX9" fmla="*/ 23527 w 61531"/>
                <a:gd name="connsiteY9" fmla="*/ 22384 h 58578"/>
                <a:gd name="connsiteX10" fmla="*/ 30766 w 61531"/>
                <a:gd name="connsiteY10" fmla="*/ 0 h 58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578">
                  <a:moveTo>
                    <a:pt x="30766" y="0"/>
                  </a:moveTo>
                  <a:lnTo>
                    <a:pt x="38100" y="22384"/>
                  </a:lnTo>
                  <a:lnTo>
                    <a:pt x="61532" y="22384"/>
                  </a:lnTo>
                  <a:lnTo>
                    <a:pt x="42577" y="36195"/>
                  </a:lnTo>
                  <a:lnTo>
                    <a:pt x="49721" y="58579"/>
                  </a:lnTo>
                  <a:lnTo>
                    <a:pt x="30766" y="44767"/>
                  </a:lnTo>
                  <a:lnTo>
                    <a:pt x="11716" y="58579"/>
                  </a:lnTo>
                  <a:lnTo>
                    <a:pt x="19050" y="36195"/>
                  </a:lnTo>
                  <a:lnTo>
                    <a:pt x="0" y="22384"/>
                  </a:lnTo>
                  <a:lnTo>
                    <a:pt x="23527" y="22384"/>
                  </a:lnTo>
                  <a:lnTo>
                    <a:pt x="30766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B79FDFD5-144D-4C0B-8CB0-F3EB65C2BDAF}"/>
                </a:ext>
              </a:extLst>
            </p:cNvPr>
            <p:cNvSpPr/>
            <p:nvPr/>
          </p:nvSpPr>
          <p:spPr>
            <a:xfrm>
              <a:off x="2925413" y="351649"/>
              <a:ext cx="61531" cy="58578"/>
            </a:xfrm>
            <a:custGeom>
              <a:avLst/>
              <a:gdLst>
                <a:gd name="connsiteX0" fmla="*/ 30861 w 61531"/>
                <a:gd name="connsiteY0" fmla="*/ 0 h 58578"/>
                <a:gd name="connsiteX1" fmla="*/ 38005 w 61531"/>
                <a:gd name="connsiteY1" fmla="*/ 22384 h 58578"/>
                <a:gd name="connsiteX2" fmla="*/ 61531 w 61531"/>
                <a:gd name="connsiteY2" fmla="*/ 22384 h 58578"/>
                <a:gd name="connsiteX3" fmla="*/ 42481 w 61531"/>
                <a:gd name="connsiteY3" fmla="*/ 36195 h 58578"/>
                <a:gd name="connsiteX4" fmla="*/ 49816 w 61531"/>
                <a:gd name="connsiteY4" fmla="*/ 58579 h 58578"/>
                <a:gd name="connsiteX5" fmla="*/ 30861 w 61531"/>
                <a:gd name="connsiteY5" fmla="*/ 44767 h 58578"/>
                <a:gd name="connsiteX6" fmla="*/ 11811 w 61531"/>
                <a:gd name="connsiteY6" fmla="*/ 58579 h 58578"/>
                <a:gd name="connsiteX7" fmla="*/ 18955 w 61531"/>
                <a:gd name="connsiteY7" fmla="*/ 36195 h 58578"/>
                <a:gd name="connsiteX8" fmla="*/ 0 w 61531"/>
                <a:gd name="connsiteY8" fmla="*/ 22384 h 58578"/>
                <a:gd name="connsiteX9" fmla="*/ 23527 w 61531"/>
                <a:gd name="connsiteY9" fmla="*/ 22384 h 58578"/>
                <a:gd name="connsiteX10" fmla="*/ 30861 w 61531"/>
                <a:gd name="connsiteY10" fmla="*/ 0 h 58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578">
                  <a:moveTo>
                    <a:pt x="30861" y="0"/>
                  </a:moveTo>
                  <a:lnTo>
                    <a:pt x="38005" y="22384"/>
                  </a:lnTo>
                  <a:lnTo>
                    <a:pt x="61531" y="22384"/>
                  </a:lnTo>
                  <a:lnTo>
                    <a:pt x="42481" y="36195"/>
                  </a:lnTo>
                  <a:lnTo>
                    <a:pt x="49816" y="58579"/>
                  </a:lnTo>
                  <a:lnTo>
                    <a:pt x="30861" y="44767"/>
                  </a:lnTo>
                  <a:lnTo>
                    <a:pt x="11811" y="58579"/>
                  </a:lnTo>
                  <a:lnTo>
                    <a:pt x="18955" y="36195"/>
                  </a:lnTo>
                  <a:lnTo>
                    <a:pt x="0" y="22384"/>
                  </a:lnTo>
                  <a:lnTo>
                    <a:pt x="23527" y="22384"/>
                  </a:lnTo>
                  <a:lnTo>
                    <a:pt x="30861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E3BD5A1B-F702-4E22-B9AF-DF453F858BA3}"/>
                </a:ext>
              </a:extLst>
            </p:cNvPr>
            <p:cNvSpPr/>
            <p:nvPr/>
          </p:nvSpPr>
          <p:spPr>
            <a:xfrm>
              <a:off x="2797016" y="351649"/>
              <a:ext cx="58959" cy="58578"/>
            </a:xfrm>
            <a:custGeom>
              <a:avLst/>
              <a:gdLst>
                <a:gd name="connsiteX0" fmla="*/ 43053 w 58959"/>
                <a:gd name="connsiteY0" fmla="*/ 44863 h 58578"/>
                <a:gd name="connsiteX1" fmla="*/ 47149 w 58959"/>
                <a:gd name="connsiteY1" fmla="*/ 58579 h 58578"/>
                <a:gd name="connsiteX2" fmla="*/ 28956 w 58959"/>
                <a:gd name="connsiteY2" fmla="*/ 44863 h 58578"/>
                <a:gd name="connsiteX3" fmla="*/ 28099 w 58959"/>
                <a:gd name="connsiteY3" fmla="*/ 44863 h 58578"/>
                <a:gd name="connsiteX4" fmla="*/ 28099 w 58959"/>
                <a:gd name="connsiteY4" fmla="*/ 44863 h 58578"/>
                <a:gd name="connsiteX5" fmla="*/ 9049 w 58959"/>
                <a:gd name="connsiteY5" fmla="*/ 58579 h 58578"/>
                <a:gd name="connsiteX6" fmla="*/ 13811 w 58959"/>
                <a:gd name="connsiteY6" fmla="*/ 44863 h 58578"/>
                <a:gd name="connsiteX7" fmla="*/ 16669 w 58959"/>
                <a:gd name="connsiteY7" fmla="*/ 36004 h 58578"/>
                <a:gd name="connsiteX8" fmla="*/ 0 w 58959"/>
                <a:gd name="connsiteY8" fmla="*/ 23908 h 58578"/>
                <a:gd name="connsiteX9" fmla="*/ 1238 w 58959"/>
                <a:gd name="connsiteY9" fmla="*/ 22193 h 58578"/>
                <a:gd name="connsiteX10" fmla="*/ 21050 w 58959"/>
                <a:gd name="connsiteY10" fmla="*/ 22193 h 58578"/>
                <a:gd name="connsiteX11" fmla="*/ 28099 w 58959"/>
                <a:gd name="connsiteY11" fmla="*/ 0 h 58578"/>
                <a:gd name="connsiteX12" fmla="*/ 35433 w 58959"/>
                <a:gd name="connsiteY12" fmla="*/ 22384 h 58578"/>
                <a:gd name="connsiteX13" fmla="*/ 58960 w 58959"/>
                <a:gd name="connsiteY13" fmla="*/ 22384 h 58578"/>
                <a:gd name="connsiteX14" fmla="*/ 39910 w 58959"/>
                <a:gd name="connsiteY14" fmla="*/ 36195 h 58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8959" h="58578">
                  <a:moveTo>
                    <a:pt x="43053" y="44863"/>
                  </a:moveTo>
                  <a:lnTo>
                    <a:pt x="47149" y="58579"/>
                  </a:lnTo>
                  <a:lnTo>
                    <a:pt x="28956" y="44863"/>
                  </a:lnTo>
                  <a:lnTo>
                    <a:pt x="28099" y="44863"/>
                  </a:lnTo>
                  <a:lnTo>
                    <a:pt x="28099" y="44863"/>
                  </a:lnTo>
                  <a:lnTo>
                    <a:pt x="9049" y="58579"/>
                  </a:lnTo>
                  <a:lnTo>
                    <a:pt x="13811" y="44863"/>
                  </a:lnTo>
                  <a:lnTo>
                    <a:pt x="16669" y="36004"/>
                  </a:lnTo>
                  <a:lnTo>
                    <a:pt x="0" y="23908"/>
                  </a:lnTo>
                  <a:lnTo>
                    <a:pt x="1238" y="22193"/>
                  </a:lnTo>
                  <a:lnTo>
                    <a:pt x="21050" y="22193"/>
                  </a:lnTo>
                  <a:lnTo>
                    <a:pt x="28099" y="0"/>
                  </a:lnTo>
                  <a:lnTo>
                    <a:pt x="35433" y="22384"/>
                  </a:lnTo>
                  <a:lnTo>
                    <a:pt x="58960" y="22384"/>
                  </a:lnTo>
                  <a:lnTo>
                    <a:pt x="39910" y="3619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3CE61C2C-A1E5-4C49-9B13-0579C108691B}"/>
                </a:ext>
              </a:extLst>
            </p:cNvPr>
            <p:cNvSpPr/>
            <p:nvPr/>
          </p:nvSpPr>
          <p:spPr>
            <a:xfrm>
              <a:off x="3056191" y="240397"/>
              <a:ext cx="61531" cy="58578"/>
            </a:xfrm>
            <a:custGeom>
              <a:avLst/>
              <a:gdLst>
                <a:gd name="connsiteX0" fmla="*/ 30766 w 61531"/>
                <a:gd name="connsiteY0" fmla="*/ 0 h 58578"/>
                <a:gd name="connsiteX1" fmla="*/ 38100 w 61531"/>
                <a:gd name="connsiteY1" fmla="*/ 22384 h 58578"/>
                <a:gd name="connsiteX2" fmla="*/ 61532 w 61531"/>
                <a:gd name="connsiteY2" fmla="*/ 22384 h 58578"/>
                <a:gd name="connsiteX3" fmla="*/ 42577 w 61531"/>
                <a:gd name="connsiteY3" fmla="*/ 36290 h 58578"/>
                <a:gd name="connsiteX4" fmla="*/ 49721 w 61531"/>
                <a:gd name="connsiteY4" fmla="*/ 58579 h 58578"/>
                <a:gd name="connsiteX5" fmla="*/ 30766 w 61531"/>
                <a:gd name="connsiteY5" fmla="*/ 44768 h 58578"/>
                <a:gd name="connsiteX6" fmla="*/ 11716 w 61531"/>
                <a:gd name="connsiteY6" fmla="*/ 58579 h 58578"/>
                <a:gd name="connsiteX7" fmla="*/ 19050 w 61531"/>
                <a:gd name="connsiteY7" fmla="*/ 36290 h 58578"/>
                <a:gd name="connsiteX8" fmla="*/ 0 w 61531"/>
                <a:gd name="connsiteY8" fmla="*/ 22384 h 58578"/>
                <a:gd name="connsiteX9" fmla="*/ 23527 w 61531"/>
                <a:gd name="connsiteY9" fmla="*/ 22384 h 58578"/>
                <a:gd name="connsiteX10" fmla="*/ 30766 w 61531"/>
                <a:gd name="connsiteY10" fmla="*/ 0 h 58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578">
                  <a:moveTo>
                    <a:pt x="30766" y="0"/>
                  </a:moveTo>
                  <a:lnTo>
                    <a:pt x="38100" y="22384"/>
                  </a:lnTo>
                  <a:lnTo>
                    <a:pt x="61532" y="22384"/>
                  </a:lnTo>
                  <a:lnTo>
                    <a:pt x="42577" y="36290"/>
                  </a:lnTo>
                  <a:lnTo>
                    <a:pt x="49721" y="58579"/>
                  </a:lnTo>
                  <a:lnTo>
                    <a:pt x="30766" y="44768"/>
                  </a:lnTo>
                  <a:lnTo>
                    <a:pt x="11716" y="58579"/>
                  </a:lnTo>
                  <a:lnTo>
                    <a:pt x="19050" y="36290"/>
                  </a:lnTo>
                  <a:lnTo>
                    <a:pt x="0" y="22384"/>
                  </a:lnTo>
                  <a:lnTo>
                    <a:pt x="23527" y="22384"/>
                  </a:lnTo>
                  <a:lnTo>
                    <a:pt x="30766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75BABD2A-3625-4FB4-8CDA-C06E4C22E846}"/>
                </a:ext>
              </a:extLst>
            </p:cNvPr>
            <p:cNvSpPr/>
            <p:nvPr/>
          </p:nvSpPr>
          <p:spPr>
            <a:xfrm>
              <a:off x="2925413" y="240397"/>
              <a:ext cx="61531" cy="58578"/>
            </a:xfrm>
            <a:custGeom>
              <a:avLst/>
              <a:gdLst>
                <a:gd name="connsiteX0" fmla="*/ 30861 w 61531"/>
                <a:gd name="connsiteY0" fmla="*/ 0 h 58578"/>
                <a:gd name="connsiteX1" fmla="*/ 38005 w 61531"/>
                <a:gd name="connsiteY1" fmla="*/ 22384 h 58578"/>
                <a:gd name="connsiteX2" fmla="*/ 61531 w 61531"/>
                <a:gd name="connsiteY2" fmla="*/ 22384 h 58578"/>
                <a:gd name="connsiteX3" fmla="*/ 42481 w 61531"/>
                <a:gd name="connsiteY3" fmla="*/ 36290 h 58578"/>
                <a:gd name="connsiteX4" fmla="*/ 49816 w 61531"/>
                <a:gd name="connsiteY4" fmla="*/ 58579 h 58578"/>
                <a:gd name="connsiteX5" fmla="*/ 30861 w 61531"/>
                <a:gd name="connsiteY5" fmla="*/ 44768 h 58578"/>
                <a:gd name="connsiteX6" fmla="*/ 11811 w 61531"/>
                <a:gd name="connsiteY6" fmla="*/ 58579 h 58578"/>
                <a:gd name="connsiteX7" fmla="*/ 18955 w 61531"/>
                <a:gd name="connsiteY7" fmla="*/ 36290 h 58578"/>
                <a:gd name="connsiteX8" fmla="*/ 0 w 61531"/>
                <a:gd name="connsiteY8" fmla="*/ 22384 h 58578"/>
                <a:gd name="connsiteX9" fmla="*/ 23527 w 61531"/>
                <a:gd name="connsiteY9" fmla="*/ 22384 h 58578"/>
                <a:gd name="connsiteX10" fmla="*/ 30861 w 61531"/>
                <a:gd name="connsiteY10" fmla="*/ 0 h 58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531" h="58578">
                  <a:moveTo>
                    <a:pt x="30861" y="0"/>
                  </a:moveTo>
                  <a:lnTo>
                    <a:pt x="38005" y="22384"/>
                  </a:lnTo>
                  <a:lnTo>
                    <a:pt x="61531" y="22384"/>
                  </a:lnTo>
                  <a:lnTo>
                    <a:pt x="42481" y="36290"/>
                  </a:lnTo>
                  <a:lnTo>
                    <a:pt x="49816" y="58579"/>
                  </a:lnTo>
                  <a:lnTo>
                    <a:pt x="30861" y="44768"/>
                  </a:lnTo>
                  <a:lnTo>
                    <a:pt x="11811" y="58579"/>
                  </a:lnTo>
                  <a:lnTo>
                    <a:pt x="18955" y="36290"/>
                  </a:lnTo>
                  <a:lnTo>
                    <a:pt x="0" y="22384"/>
                  </a:lnTo>
                  <a:lnTo>
                    <a:pt x="23527" y="22384"/>
                  </a:lnTo>
                  <a:lnTo>
                    <a:pt x="30861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33" name="Picture 132" descr="A flag on a pole&#10;&#10;Description automatically generated with medium confidence">
            <a:extLst>
              <a:ext uri="{FF2B5EF4-FFF2-40B4-BE49-F238E27FC236}">
                <a16:creationId xmlns:a16="http://schemas.microsoft.com/office/drawing/2014/main" id="{DCD22FF9-3E7F-49C6-B22E-48A2689F692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7808" y="5478758"/>
            <a:ext cx="1320244" cy="1379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3753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00007D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ARTICULATE_DESIGN_ID_OFFICE THEME" val="syyYgZJJ"/>
  <p:tag name="ARTICULATE_PROJECT_OPEN" val="0"/>
  <p:tag name="ARTICULATE_SLIDE_COUNT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Infographics">
      <a:dk1>
        <a:sysClr val="windowText" lastClr="000000"/>
      </a:dk1>
      <a:lt1>
        <a:sysClr val="window" lastClr="FFFFFF"/>
      </a:lt1>
      <a:dk2>
        <a:srgbClr val="58595B"/>
      </a:dk2>
      <a:lt2>
        <a:srgbClr val="F1F2F2"/>
      </a:lt2>
      <a:accent1>
        <a:srgbClr val="00007D"/>
      </a:accent1>
      <a:accent2>
        <a:srgbClr val="1428A0"/>
      </a:accent2>
      <a:accent3>
        <a:srgbClr val="0077C8"/>
      </a:accent3>
      <a:accent4>
        <a:srgbClr val="00B3E3"/>
      </a:accent4>
      <a:accent5>
        <a:srgbClr val="00C3B2"/>
      </a:accent5>
      <a:accent6>
        <a:srgbClr val="97D653"/>
      </a:accent6>
      <a:hlink>
        <a:srgbClr val="00007D"/>
      </a:hlink>
      <a:folHlink>
        <a:srgbClr val="00007D"/>
      </a:folHlink>
    </a:clrScheme>
    <a:fontScheme name="Custom 157">
      <a:majorFont>
        <a:latin typeface="Tahoma bold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0">
    <wetp:webextensionref xmlns:r="http://schemas.openxmlformats.org/officeDocument/2006/relationships" r:id="rId1"/>
  </wetp:taskpane>
  <wetp:taskpane dockstate="right" visibility="0" width="350" row="9">
    <wetp:webextensionref xmlns:r="http://schemas.openxmlformats.org/officeDocument/2006/relationships" r:id="rId2"/>
  </wetp:taskpane>
  <wetp:taskpane dockstate="right" visibility="0" width="350" row="3">
    <wetp:webextensionref xmlns:r="http://schemas.openxmlformats.org/officeDocument/2006/relationships" r:id="rId3"/>
  </wetp:taskpane>
</wetp:taskpanes>
</file>

<file path=ppt/webextensions/webextension1.xml><?xml version="1.0" encoding="utf-8"?>
<we:webextension xmlns:we="http://schemas.microsoft.com/office/webextensions/webextension/2010/11" id="{4F0DB6AD-AA6A-49C8-9264-101355AEA7B2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62E04DD-50D8-4D76-9848-6555A8D2B5D4}">
  <we:reference id="wa200001396" version="2.1.6.0" store="en-001" storeType="OMEX"/>
  <we:alternateReferences>
    <we:reference id="wa200001396" version="2.1.6.0" store="en-001" storeType="OMEX"/>
  </we:alternateReferences>
  <we:properties/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21DC2DC5-8D14-4A5B-B73F-CF38CECC781E}">
  <we:reference id="wa200003052" version="1.0.0.0" store="en-US" storeType="OMEX"/>
  <we:alternateReferences>
    <we:reference id="WA200003052" version="1.0.0.0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21561</TotalTime>
  <Words>1</Words>
  <Application>Microsoft Office PowerPoint</Application>
  <PresentationFormat>Widescreen</PresentationFormat>
  <Paragraphs>1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Tahoma</vt:lpstr>
      <vt:lpstr>Tahoma bold</vt:lpstr>
      <vt:lpstr>Office Theme</vt:lpstr>
      <vt:lpstr>US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monir</dc:creator>
  <cp:lastModifiedBy>Andrew Monir</cp:lastModifiedBy>
  <cp:revision>812</cp:revision>
  <dcterms:created xsi:type="dcterms:W3CDTF">2020-11-27T23:09:27Z</dcterms:created>
  <dcterms:modified xsi:type="dcterms:W3CDTF">2021-12-13T18:2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4BB15136-D798-4488-8D6D-3187EBF00F3F</vt:lpwstr>
  </property>
  <property fmtid="{D5CDD505-2E9C-101B-9397-08002B2CF9AE}" pid="3" name="ArticulatePath">
    <vt:lpwstr>https://d.docs.live.net/a32d64b1d32ea93c/Infographics/Infographics/Master file</vt:lpwstr>
  </property>
</Properties>
</file>